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4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5.xml" ContentType="application/vnd.openxmlformats-officedocument.theme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notesSlides/notesSlide8.xml" ContentType="application/vnd.openxmlformats-officedocument.presentationml.notesSlide+xml"/>
  <Override PartName="/ppt/charts/chart4.xml" ContentType="application/vnd.openxmlformats-officedocument.drawingml.chart+xml"/>
  <Override PartName="/ppt/notesSlides/notesSlide9.xml" ContentType="application/vnd.openxmlformats-officedocument.presentationml.notesSlide+xml"/>
  <Override PartName="/ppt/charts/chart5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  <p:sldMasterId id="2147483728" r:id="rId6"/>
    <p:sldMasterId id="2147483739" r:id="rId7"/>
    <p:sldMasterId id="2147483752" r:id="rId8"/>
    <p:sldMasterId id="2147483812" r:id="rId9"/>
    <p:sldMasterId id="2147483857" r:id="rId10"/>
  </p:sldMasterIdLst>
  <p:notesMasterIdLst>
    <p:notesMasterId r:id="rId58"/>
  </p:notesMasterIdLst>
  <p:sldIdLst>
    <p:sldId id="257" r:id="rId11"/>
    <p:sldId id="258" r:id="rId12"/>
    <p:sldId id="346" r:id="rId13"/>
    <p:sldId id="387" r:id="rId14"/>
    <p:sldId id="356" r:id="rId15"/>
    <p:sldId id="264" r:id="rId16"/>
    <p:sldId id="331" r:id="rId17"/>
    <p:sldId id="357" r:id="rId18"/>
    <p:sldId id="358" r:id="rId19"/>
    <p:sldId id="355" r:id="rId20"/>
    <p:sldId id="360" r:id="rId21"/>
    <p:sldId id="359" r:id="rId22"/>
    <p:sldId id="392" r:id="rId23"/>
    <p:sldId id="371" r:id="rId24"/>
    <p:sldId id="370" r:id="rId25"/>
    <p:sldId id="373" r:id="rId26"/>
    <p:sldId id="374" r:id="rId27"/>
    <p:sldId id="375" r:id="rId28"/>
    <p:sldId id="379" r:id="rId29"/>
    <p:sldId id="378" r:id="rId30"/>
    <p:sldId id="393" r:id="rId31"/>
    <p:sldId id="397" r:id="rId32"/>
    <p:sldId id="422" r:id="rId33"/>
    <p:sldId id="303" r:id="rId34"/>
    <p:sldId id="340" r:id="rId35"/>
    <p:sldId id="399" r:id="rId36"/>
    <p:sldId id="341" r:id="rId37"/>
    <p:sldId id="421" r:id="rId38"/>
    <p:sldId id="342" r:id="rId39"/>
    <p:sldId id="418" r:id="rId40"/>
    <p:sldId id="343" r:id="rId41"/>
    <p:sldId id="407" r:id="rId42"/>
    <p:sldId id="400" r:id="rId43"/>
    <p:sldId id="401" r:id="rId44"/>
    <p:sldId id="417" r:id="rId45"/>
    <p:sldId id="420" r:id="rId46"/>
    <p:sldId id="419" r:id="rId47"/>
    <p:sldId id="345" r:id="rId48"/>
    <p:sldId id="413" r:id="rId49"/>
    <p:sldId id="414" r:id="rId50"/>
    <p:sldId id="380" r:id="rId51"/>
    <p:sldId id="381" r:id="rId52"/>
    <p:sldId id="382" r:id="rId53"/>
    <p:sldId id="383" r:id="rId54"/>
    <p:sldId id="384" r:id="rId55"/>
    <p:sldId id="385" r:id="rId56"/>
    <p:sldId id="263" r:id="rId57"/>
  </p:sldIdLst>
  <p:sldSz cx="9144000" cy="6858000" type="screen4x3"/>
  <p:notesSz cx="6784975" cy="99060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296">
          <p15:clr>
            <a:srgbClr val="A4A3A4"/>
          </p15:clr>
        </p15:guide>
        <p15:guide id="2" orient="horz" pos="2387">
          <p15:clr>
            <a:srgbClr val="A4A3A4"/>
          </p15:clr>
        </p15:guide>
        <p15:guide id="3" orient="horz" pos="3793">
          <p15:clr>
            <a:srgbClr val="A4A3A4"/>
          </p15:clr>
        </p15:guide>
        <p15:guide id="4" orient="horz" pos="890">
          <p15:clr>
            <a:srgbClr val="A4A3A4"/>
          </p15:clr>
        </p15:guide>
        <p15:guide id="5" pos="5420">
          <p15:clr>
            <a:srgbClr val="A4A3A4"/>
          </p15:clr>
        </p15:guide>
        <p15:guide id="6" pos="340">
          <p15:clr>
            <a:srgbClr val="A4A3A4"/>
          </p15:clr>
        </p15:guide>
        <p15:guide id="7" pos="2835">
          <p15:clr>
            <a:srgbClr val="A4A3A4"/>
          </p15:clr>
        </p15:guide>
        <p15:guide id="8" pos="292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6600"/>
    <a:srgbClr val="D9DADB"/>
    <a:srgbClr val="F9D2B6"/>
    <a:srgbClr val="A7A8AA"/>
    <a:srgbClr val="EB8044"/>
    <a:srgbClr val="FDEADB"/>
    <a:srgbClr val="008000"/>
    <a:srgbClr val="C5C6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841" autoAdjust="0"/>
    <p:restoredTop sz="86368" autoAdjust="0"/>
  </p:normalViewPr>
  <p:slideViewPr>
    <p:cSldViewPr>
      <p:cViewPr>
        <p:scale>
          <a:sx n="100" d="100"/>
          <a:sy n="100" d="100"/>
        </p:scale>
        <p:origin x="2313" y="354"/>
      </p:cViewPr>
      <p:guideLst>
        <p:guide orient="horz" pos="2296"/>
        <p:guide orient="horz" pos="2387"/>
        <p:guide orient="horz" pos="3793"/>
        <p:guide orient="horz" pos="890"/>
        <p:guide pos="5420"/>
        <p:guide pos="340"/>
        <p:guide pos="2835"/>
        <p:guide pos="2925"/>
      </p:guideLst>
    </p:cSldViewPr>
  </p:slideViewPr>
  <p:outlineViewPr>
    <p:cViewPr>
      <p:scale>
        <a:sx n="33" d="100"/>
        <a:sy n="33" d="100"/>
      </p:scale>
      <p:origin x="36" y="1372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slide" Target="slides/slide29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slide" Target="slides/slide32.xml"/><Relationship Id="rId47" Type="http://schemas.openxmlformats.org/officeDocument/2006/relationships/slide" Target="slides/slide37.xml"/><Relationship Id="rId50" Type="http://schemas.openxmlformats.org/officeDocument/2006/relationships/slide" Target="slides/slide40.xml"/><Relationship Id="rId55" Type="http://schemas.openxmlformats.org/officeDocument/2006/relationships/slide" Target="slides/slide45.xml"/><Relationship Id="rId7" Type="http://schemas.openxmlformats.org/officeDocument/2006/relationships/slideMaster" Target="slideMasters/slideMaster3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9" Type="http://schemas.openxmlformats.org/officeDocument/2006/relationships/slide" Target="slides/slide19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slide" Target="slides/slide30.xml"/><Relationship Id="rId45" Type="http://schemas.openxmlformats.org/officeDocument/2006/relationships/slide" Target="slides/slide35.xml"/><Relationship Id="rId53" Type="http://schemas.openxmlformats.org/officeDocument/2006/relationships/slide" Target="slides/slide43.xml"/><Relationship Id="rId58" Type="http://schemas.openxmlformats.org/officeDocument/2006/relationships/notesMaster" Target="notesMasters/notesMaster1.xml"/><Relationship Id="rId5" Type="http://schemas.openxmlformats.org/officeDocument/2006/relationships/slideMaster" Target="slideMasters/slideMaster1.xml"/><Relationship Id="rId61" Type="http://schemas.openxmlformats.org/officeDocument/2006/relationships/theme" Target="theme/theme1.xml"/><Relationship Id="rId19" Type="http://schemas.openxmlformats.org/officeDocument/2006/relationships/slide" Target="slides/slide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slide" Target="slides/slide33.xml"/><Relationship Id="rId48" Type="http://schemas.openxmlformats.org/officeDocument/2006/relationships/slide" Target="slides/slide38.xml"/><Relationship Id="rId56" Type="http://schemas.openxmlformats.org/officeDocument/2006/relationships/slide" Target="slides/slide46.xml"/><Relationship Id="rId8" Type="http://schemas.openxmlformats.org/officeDocument/2006/relationships/slideMaster" Target="slideMasters/slideMaster4.xml"/><Relationship Id="rId51" Type="http://schemas.openxmlformats.org/officeDocument/2006/relationships/slide" Target="slides/slide41.xml"/><Relationship Id="rId3" Type="http://schemas.openxmlformats.org/officeDocument/2006/relationships/customXml" Target="../customXml/item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slide" Target="slides/slide36.xml"/><Relationship Id="rId59" Type="http://schemas.openxmlformats.org/officeDocument/2006/relationships/presProps" Target="presProps.xml"/><Relationship Id="rId20" Type="http://schemas.openxmlformats.org/officeDocument/2006/relationships/slide" Target="slides/slide10.xml"/><Relationship Id="rId41" Type="http://schemas.openxmlformats.org/officeDocument/2006/relationships/slide" Target="slides/slide31.xml"/><Relationship Id="rId54" Type="http://schemas.openxmlformats.org/officeDocument/2006/relationships/slide" Target="slides/slide44.xml"/><Relationship Id="rId62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49" Type="http://schemas.openxmlformats.org/officeDocument/2006/relationships/slide" Target="slides/slide39.xml"/><Relationship Id="rId57" Type="http://schemas.openxmlformats.org/officeDocument/2006/relationships/slide" Target="slides/slide47.xml"/><Relationship Id="rId10" Type="http://schemas.openxmlformats.org/officeDocument/2006/relationships/slideMaster" Target="slideMasters/slideMaster6.xml"/><Relationship Id="rId31" Type="http://schemas.openxmlformats.org/officeDocument/2006/relationships/slide" Target="slides/slide21.xml"/><Relationship Id="rId44" Type="http://schemas.openxmlformats.org/officeDocument/2006/relationships/slide" Target="slides/slide34.xml"/><Relationship Id="rId52" Type="http://schemas.openxmlformats.org/officeDocument/2006/relationships/slide" Target="slides/slide42.xml"/><Relationship Id="rId60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data\030%20BECOME%20EXPERT\HORTICULTURAL%20LIGHTING\150121%20Horticulture%20Curves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data\030%20BECOME%20EXPERT\HORTICULTURAL%20LIGHTING\150122%20Horticulture%20Curves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data\030%20BECOME%20EXPERT\HORTICULTURAL%20LIGHTING\150122%20Horticulture%20Curves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data\030%20BECOME%20EXPERT\HORTICULTURAL%20LIGHTING\150122%20Horticulture%20Curves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data\030%20BECOME%20EXPERT\HORTICULTURAL%20LIGHTING\150122%20Horticulture%20Curve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596309523809524"/>
          <c:y val="0.1017981620275812"/>
          <c:w val="0.80335158730158762"/>
          <c:h val="0.68233978275918061"/>
        </c:manualLayout>
      </c:layout>
      <c:scatterChart>
        <c:scatterStyle val="smoothMarker"/>
        <c:varyColors val="0"/>
        <c:ser>
          <c:idx val="0"/>
          <c:order val="0"/>
          <c:tx>
            <c:v>S</c:v>
          </c:tx>
          <c:spPr>
            <a:ln>
              <a:solidFill>
                <a:srgbClr val="0070C0"/>
              </a:solidFill>
            </a:ln>
          </c:spPr>
          <c:marker>
            <c:symbol val="none"/>
          </c:marker>
          <c:xVal>
            <c:numRef>
              <c:f>'Visible Calculation'!$F$4:$F$385</c:f>
              <c:numCache>
                <c:formatCode>0</c:formatCode>
                <c:ptCount val="382"/>
                <c:pt idx="0">
                  <c:v>342.98014643883869</c:v>
                </c:pt>
                <c:pt idx="1">
                  <c:v>344.37762680822601</c:v>
                </c:pt>
                <c:pt idx="2">
                  <c:v>344.37510990533099</c:v>
                </c:pt>
                <c:pt idx="3">
                  <c:v>346.02751658223758</c:v>
                </c:pt>
                <c:pt idx="4">
                  <c:v>345.517424262161</c:v>
                </c:pt>
                <c:pt idx="5">
                  <c:v>347.55060239134673</c:v>
                </c:pt>
                <c:pt idx="6">
                  <c:v>347.04122918638001</c:v>
                </c:pt>
                <c:pt idx="7">
                  <c:v>349.07512643067588</c:v>
                </c:pt>
                <c:pt idx="8">
                  <c:v>348.56503411059799</c:v>
                </c:pt>
                <c:pt idx="9">
                  <c:v>350.59821223978264</c:v>
                </c:pt>
                <c:pt idx="10">
                  <c:v>350.088839034817</c:v>
                </c:pt>
                <c:pt idx="11">
                  <c:v>351.99593231420693</c:v>
                </c:pt>
                <c:pt idx="12">
                  <c:v>351.99341541131145</c:v>
                </c:pt>
                <c:pt idx="13">
                  <c:v>353.64582208821997</c:v>
                </c:pt>
                <c:pt idx="14">
                  <c:v>353.13572976814169</c:v>
                </c:pt>
                <c:pt idx="15">
                  <c:v>355.17034612755202</c:v>
                </c:pt>
                <c:pt idx="16">
                  <c:v>354.66025380747396</c:v>
                </c:pt>
                <c:pt idx="17">
                  <c:v>356.69343193665799</c:v>
                </c:pt>
                <c:pt idx="18">
                  <c:v>356.18333961657862</c:v>
                </c:pt>
                <c:pt idx="19">
                  <c:v>358.21795597598845</c:v>
                </c:pt>
                <c:pt idx="20">
                  <c:v>357.70786365591226</c:v>
                </c:pt>
                <c:pt idx="21">
                  <c:v>359.741041785096</c:v>
                </c:pt>
                <c:pt idx="22">
                  <c:v>359.23094946501669</c:v>
                </c:pt>
                <c:pt idx="23">
                  <c:v>361.26556582442731</c:v>
                </c:pt>
                <c:pt idx="24">
                  <c:v>360.75547350434908</c:v>
                </c:pt>
                <c:pt idx="25">
                  <c:v>362.79008986375902</c:v>
                </c:pt>
                <c:pt idx="26">
                  <c:v>362.27999754367994</c:v>
                </c:pt>
                <c:pt idx="27">
                  <c:v>364.18780993818399</c:v>
                </c:pt>
                <c:pt idx="28">
                  <c:v>364.18493347773301</c:v>
                </c:pt>
                <c:pt idx="29">
                  <c:v>363.80236423767394</c:v>
                </c:pt>
                <c:pt idx="30">
                  <c:v>365.83769971219664</c:v>
                </c:pt>
                <c:pt idx="31">
                  <c:v>365.32760739211801</c:v>
                </c:pt>
                <c:pt idx="32">
                  <c:v>367.36222375152801</c:v>
                </c:pt>
                <c:pt idx="33">
                  <c:v>366.85213143145</c:v>
                </c:pt>
                <c:pt idx="34">
                  <c:v>368.88674779086</c:v>
                </c:pt>
                <c:pt idx="35">
                  <c:v>368.37665547078194</c:v>
                </c:pt>
                <c:pt idx="36">
                  <c:v>370.41127183019199</c:v>
                </c:pt>
                <c:pt idx="37">
                  <c:v>370.28123184727451</c:v>
                </c:pt>
                <c:pt idx="38">
                  <c:v>371.93579586952399</c:v>
                </c:pt>
                <c:pt idx="39">
                  <c:v>371.42570354944399</c:v>
                </c:pt>
                <c:pt idx="40">
                  <c:v>371.42354620410669</c:v>
                </c:pt>
                <c:pt idx="41">
                  <c:v>373.46031990885319</c:v>
                </c:pt>
                <c:pt idx="42">
                  <c:v>373.330279925941</c:v>
                </c:pt>
                <c:pt idx="43">
                  <c:v>372.948070243438</c:v>
                </c:pt>
                <c:pt idx="44">
                  <c:v>374.98484394818558</c:v>
                </c:pt>
                <c:pt idx="45">
                  <c:v>374.85480396527203</c:v>
                </c:pt>
                <c:pt idx="46">
                  <c:v>374.47259428276999</c:v>
                </c:pt>
                <c:pt idx="47">
                  <c:v>376.50936798751894</c:v>
                </c:pt>
                <c:pt idx="48">
                  <c:v>376.37932800460396</c:v>
                </c:pt>
                <c:pt idx="49">
                  <c:v>375.99711832210005</c:v>
                </c:pt>
                <c:pt idx="50">
                  <c:v>377.90708806194397</c:v>
                </c:pt>
                <c:pt idx="51">
                  <c:v>377.90421160149197</c:v>
                </c:pt>
                <c:pt idx="52">
                  <c:v>377.52164236143398</c:v>
                </c:pt>
                <c:pt idx="53">
                  <c:v>379.43161210127283</c:v>
                </c:pt>
                <c:pt idx="54">
                  <c:v>379.42873564082288</c:v>
                </c:pt>
                <c:pt idx="55">
                  <c:v>379.046166400765</c:v>
                </c:pt>
                <c:pt idx="56">
                  <c:v>381.08294010551401</c:v>
                </c:pt>
                <c:pt idx="57">
                  <c:v>380.95290012259898</c:v>
                </c:pt>
                <c:pt idx="58">
                  <c:v>380.57069044009694</c:v>
                </c:pt>
                <c:pt idx="59">
                  <c:v>382.60602591461969</c:v>
                </c:pt>
                <c:pt idx="60">
                  <c:v>382.09593359454198</c:v>
                </c:pt>
                <c:pt idx="61">
                  <c:v>384.13054995395203</c:v>
                </c:pt>
                <c:pt idx="62">
                  <c:v>383.62045763387408</c:v>
                </c:pt>
                <c:pt idx="63">
                  <c:v>385.655073993283</c:v>
                </c:pt>
                <c:pt idx="64">
                  <c:v>385.14498167320733</c:v>
                </c:pt>
                <c:pt idx="65">
                  <c:v>387.17959803261499</c:v>
                </c:pt>
                <c:pt idx="66">
                  <c:v>386.66950571253705</c:v>
                </c:pt>
                <c:pt idx="67">
                  <c:v>388.70412207194698</c:v>
                </c:pt>
                <c:pt idx="68">
                  <c:v>388.57408208903337</c:v>
                </c:pt>
                <c:pt idx="69">
                  <c:v>388.19187240652963</c:v>
                </c:pt>
                <c:pt idx="70">
                  <c:v>390.10184214637201</c:v>
                </c:pt>
                <c:pt idx="71">
                  <c:v>390.09896568592001</c:v>
                </c:pt>
                <c:pt idx="72">
                  <c:v>389.71639644585935</c:v>
                </c:pt>
                <c:pt idx="73">
                  <c:v>391.75173192038369</c:v>
                </c:pt>
                <c:pt idx="74">
                  <c:v>391.24163960030597</c:v>
                </c:pt>
                <c:pt idx="75">
                  <c:v>393.27625595971563</c:v>
                </c:pt>
                <c:pt idx="76">
                  <c:v>392.76616363963802</c:v>
                </c:pt>
                <c:pt idx="77">
                  <c:v>394.67397603414202</c:v>
                </c:pt>
                <c:pt idx="78">
                  <c:v>394.67109957368899</c:v>
                </c:pt>
                <c:pt idx="79">
                  <c:v>394.288530333631</c:v>
                </c:pt>
                <c:pt idx="80">
                  <c:v>396.32386580815398</c:v>
                </c:pt>
                <c:pt idx="81">
                  <c:v>395.8137734880732</c:v>
                </c:pt>
                <c:pt idx="82">
                  <c:v>397.84838984748399</c:v>
                </c:pt>
                <c:pt idx="83">
                  <c:v>397.33829752740695</c:v>
                </c:pt>
                <c:pt idx="84">
                  <c:v>399.372913886817</c:v>
                </c:pt>
                <c:pt idx="85">
                  <c:v>399.24287390390202</c:v>
                </c:pt>
                <c:pt idx="86">
                  <c:v>400.89599969592302</c:v>
                </c:pt>
                <c:pt idx="87">
                  <c:v>400.38590737584502</c:v>
                </c:pt>
                <c:pt idx="88">
                  <c:v>402.42052373525399</c:v>
                </c:pt>
                <c:pt idx="89">
                  <c:v>401.91043141517434</c:v>
                </c:pt>
                <c:pt idx="90">
                  <c:v>403.94504777458695</c:v>
                </c:pt>
                <c:pt idx="91">
                  <c:v>403.43495545450662</c:v>
                </c:pt>
                <c:pt idx="92">
                  <c:v>405.46957181391798</c:v>
                </c:pt>
                <c:pt idx="93">
                  <c:v>404.95947949383998</c:v>
                </c:pt>
                <c:pt idx="94">
                  <c:v>406.99409585324969</c:v>
                </c:pt>
                <c:pt idx="95">
                  <c:v>406.86405587033607</c:v>
                </c:pt>
                <c:pt idx="96">
                  <c:v>408.51861989258163</c:v>
                </c:pt>
                <c:pt idx="97">
                  <c:v>408.38857990966699</c:v>
                </c:pt>
                <c:pt idx="98">
                  <c:v>408.00637022716393</c:v>
                </c:pt>
                <c:pt idx="99">
                  <c:v>409.91633996700392</c:v>
                </c:pt>
                <c:pt idx="100">
                  <c:v>409.91346350655499</c:v>
                </c:pt>
                <c:pt idx="101">
                  <c:v>409.53089426649569</c:v>
                </c:pt>
                <c:pt idx="102">
                  <c:v>411.56622974101788</c:v>
                </c:pt>
                <c:pt idx="103">
                  <c:v>411.05613742093993</c:v>
                </c:pt>
                <c:pt idx="104">
                  <c:v>413.09075378035101</c:v>
                </c:pt>
                <c:pt idx="105">
                  <c:v>412.58066146027193</c:v>
                </c:pt>
                <c:pt idx="106">
                  <c:v>414.48847385477569</c:v>
                </c:pt>
                <c:pt idx="107">
                  <c:v>414.485597394325</c:v>
                </c:pt>
                <c:pt idx="108">
                  <c:v>416.13836362878897</c:v>
                </c:pt>
                <c:pt idx="109">
                  <c:v>415.62827130871</c:v>
                </c:pt>
                <c:pt idx="110">
                  <c:v>417.66144943789499</c:v>
                </c:pt>
                <c:pt idx="111">
                  <c:v>417.15207623292901</c:v>
                </c:pt>
                <c:pt idx="112">
                  <c:v>419.18477495203803</c:v>
                </c:pt>
                <c:pt idx="113">
                  <c:v>418.67516204203503</c:v>
                </c:pt>
                <c:pt idx="114">
                  <c:v>420.58225532142598</c:v>
                </c:pt>
                <c:pt idx="115">
                  <c:v>420.57973841852856</c:v>
                </c:pt>
                <c:pt idx="116">
                  <c:v>422.23094657024899</c:v>
                </c:pt>
                <c:pt idx="117">
                  <c:v>421.72133366024576</c:v>
                </c:pt>
                <c:pt idx="118">
                  <c:v>423.62698870941205</c:v>
                </c:pt>
                <c:pt idx="119">
                  <c:v>423.62483136407297</c:v>
                </c:pt>
                <c:pt idx="120">
                  <c:v>425.15007451851801</c:v>
                </c:pt>
                <c:pt idx="121">
                  <c:v>425.147917173179</c:v>
                </c:pt>
                <c:pt idx="122">
                  <c:v>426.671722097398</c:v>
                </c:pt>
                <c:pt idx="123">
                  <c:v>426.66956475205905</c:v>
                </c:pt>
                <c:pt idx="124">
                  <c:v>428.32041334622193</c:v>
                </c:pt>
                <c:pt idx="125">
                  <c:v>427.81080043621898</c:v>
                </c:pt>
                <c:pt idx="126">
                  <c:v>429.71645548538288</c:v>
                </c:pt>
                <c:pt idx="127">
                  <c:v>429.714298140045</c:v>
                </c:pt>
                <c:pt idx="128">
                  <c:v>431.23810306426265</c:v>
                </c:pt>
                <c:pt idx="129">
                  <c:v>431.23594571892369</c:v>
                </c:pt>
                <c:pt idx="130">
                  <c:v>432.759750643144</c:v>
                </c:pt>
                <c:pt idx="131">
                  <c:v>432.75759329780499</c:v>
                </c:pt>
                <c:pt idx="132">
                  <c:v>434.28139822202235</c:v>
                </c:pt>
                <c:pt idx="133">
                  <c:v>434.279240876686</c:v>
                </c:pt>
                <c:pt idx="134">
                  <c:v>435.80304580090404</c:v>
                </c:pt>
                <c:pt idx="135">
                  <c:v>435.80088845556702</c:v>
                </c:pt>
                <c:pt idx="136">
                  <c:v>437.32397426467088</c:v>
                </c:pt>
                <c:pt idx="137">
                  <c:v>437.321816919333</c:v>
                </c:pt>
                <c:pt idx="138">
                  <c:v>438.84490272843902</c:v>
                </c:pt>
                <c:pt idx="139">
                  <c:v>438.84274538310137</c:v>
                </c:pt>
                <c:pt idx="140">
                  <c:v>440.36511207709162</c:v>
                </c:pt>
                <c:pt idx="141">
                  <c:v>440.36295473175608</c:v>
                </c:pt>
                <c:pt idx="142">
                  <c:v>441.88604054086102</c:v>
                </c:pt>
                <c:pt idx="143">
                  <c:v>441.88352363796508</c:v>
                </c:pt>
                <c:pt idx="144">
                  <c:v>443.40624988951464</c:v>
                </c:pt>
                <c:pt idx="145">
                  <c:v>443.40373298661819</c:v>
                </c:pt>
                <c:pt idx="146">
                  <c:v>444.92645923816758</c:v>
                </c:pt>
                <c:pt idx="147">
                  <c:v>444.92394233527369</c:v>
                </c:pt>
                <c:pt idx="148">
                  <c:v>446.44666858682405</c:v>
                </c:pt>
                <c:pt idx="149">
                  <c:v>446.44379212637205</c:v>
                </c:pt>
                <c:pt idx="150">
                  <c:v>447.96543970525164</c:v>
                </c:pt>
                <c:pt idx="151">
                  <c:v>447.96328235991405</c:v>
                </c:pt>
                <c:pt idx="152">
                  <c:v>449.48564905390703</c:v>
                </c:pt>
                <c:pt idx="153">
                  <c:v>449.48277259345502</c:v>
                </c:pt>
                <c:pt idx="154">
                  <c:v>451.00513928744681</c:v>
                </c:pt>
                <c:pt idx="155">
                  <c:v>451.00226282699708</c:v>
                </c:pt>
                <c:pt idx="156">
                  <c:v>452.52462952099</c:v>
                </c:pt>
                <c:pt idx="157">
                  <c:v>452.52175306053681</c:v>
                </c:pt>
                <c:pt idx="158">
                  <c:v>454.04340063941981</c:v>
                </c:pt>
                <c:pt idx="159">
                  <c:v>454.04052417896702</c:v>
                </c:pt>
                <c:pt idx="160">
                  <c:v>455.56289087296108</c:v>
                </c:pt>
                <c:pt idx="161">
                  <c:v>455.56001441250669</c:v>
                </c:pt>
                <c:pt idx="162">
                  <c:v>456.31832129905308</c:v>
                </c:pt>
                <c:pt idx="163">
                  <c:v>457.08166199138799</c:v>
                </c:pt>
                <c:pt idx="164">
                  <c:v>457.83960932037701</c:v>
                </c:pt>
                <c:pt idx="165">
                  <c:v>457.83709241748193</c:v>
                </c:pt>
                <c:pt idx="166">
                  <c:v>459.36053778414396</c:v>
                </c:pt>
                <c:pt idx="167">
                  <c:v>459.35766132369355</c:v>
                </c:pt>
                <c:pt idx="168">
                  <c:v>459.35550397835397</c:v>
                </c:pt>
                <c:pt idx="169">
                  <c:v>460.87930890257138</c:v>
                </c:pt>
                <c:pt idx="170">
                  <c:v>460.87643244211887</c:v>
                </c:pt>
                <c:pt idx="171">
                  <c:v>460.87427509678201</c:v>
                </c:pt>
                <c:pt idx="172">
                  <c:v>462.39664179077499</c:v>
                </c:pt>
                <c:pt idx="173">
                  <c:v>462.39376533032402</c:v>
                </c:pt>
                <c:pt idx="174">
                  <c:v>462.39160798498381</c:v>
                </c:pt>
                <c:pt idx="175">
                  <c:v>463.91541290920259</c:v>
                </c:pt>
                <c:pt idx="176">
                  <c:v>463.91253644875059</c:v>
                </c:pt>
                <c:pt idx="177">
                  <c:v>463.91037910341396</c:v>
                </c:pt>
                <c:pt idx="178">
                  <c:v>465.05449124802499</c:v>
                </c:pt>
                <c:pt idx="179">
                  <c:v>465.43202668229264</c:v>
                </c:pt>
                <c:pt idx="180">
                  <c:v>465.42915022184195</c:v>
                </c:pt>
                <c:pt idx="181">
                  <c:v>466.18817622349923</c:v>
                </c:pt>
                <c:pt idx="182">
                  <c:v>466.57182413622797</c:v>
                </c:pt>
                <c:pt idx="183">
                  <c:v>466.94648311004607</c:v>
                </c:pt>
                <c:pt idx="184">
                  <c:v>467.32977146521699</c:v>
                </c:pt>
                <c:pt idx="185">
                  <c:v>467.70443043903401</c:v>
                </c:pt>
                <c:pt idx="186">
                  <c:v>468.467411573812</c:v>
                </c:pt>
                <c:pt idx="187">
                  <c:v>468.58918173292898</c:v>
                </c:pt>
                <c:pt idx="188">
                  <c:v>469.2192464243422</c:v>
                </c:pt>
                <c:pt idx="189">
                  <c:v>469.60505168240798</c:v>
                </c:pt>
                <c:pt idx="190">
                  <c:v>469.98258711667569</c:v>
                </c:pt>
                <c:pt idx="191">
                  <c:v>469.97719375333003</c:v>
                </c:pt>
                <c:pt idx="192">
                  <c:v>470.74053444566363</c:v>
                </c:pt>
                <c:pt idx="193">
                  <c:v>470.73514108231763</c:v>
                </c:pt>
                <c:pt idx="194">
                  <c:v>471.49848177465299</c:v>
                </c:pt>
                <c:pt idx="195">
                  <c:v>471.49308841130699</c:v>
                </c:pt>
                <c:pt idx="196">
                  <c:v>472.25642910364201</c:v>
                </c:pt>
                <c:pt idx="197">
                  <c:v>472.25103574029254</c:v>
                </c:pt>
                <c:pt idx="198">
                  <c:v>473.01437643262881</c:v>
                </c:pt>
                <c:pt idx="199">
                  <c:v>473.00862351172702</c:v>
                </c:pt>
                <c:pt idx="200">
                  <c:v>473.77160464650569</c:v>
                </c:pt>
                <c:pt idx="201">
                  <c:v>473.89337480562199</c:v>
                </c:pt>
                <c:pt idx="202">
                  <c:v>474.52343949703362</c:v>
                </c:pt>
                <c:pt idx="203">
                  <c:v>474.90924475510195</c:v>
                </c:pt>
                <c:pt idx="204">
                  <c:v>475.28678018937001</c:v>
                </c:pt>
                <c:pt idx="205">
                  <c:v>475.28102726846669</c:v>
                </c:pt>
                <c:pt idx="206">
                  <c:v>476.04400840324598</c:v>
                </c:pt>
                <c:pt idx="207">
                  <c:v>476.16577856236205</c:v>
                </c:pt>
                <c:pt idx="208">
                  <c:v>475.65640535739698</c:v>
                </c:pt>
                <c:pt idx="209">
                  <c:v>476.92228766112493</c:v>
                </c:pt>
                <c:pt idx="210">
                  <c:v>476.41291445615758</c:v>
                </c:pt>
                <c:pt idx="211">
                  <c:v>477.18021028161593</c:v>
                </c:pt>
                <c:pt idx="212">
                  <c:v>477.551992794981</c:v>
                </c:pt>
                <c:pt idx="213">
                  <c:v>477.93815761060193</c:v>
                </c:pt>
                <c:pt idx="214">
                  <c:v>478.31497392976155</c:v>
                </c:pt>
                <c:pt idx="215">
                  <c:v>478.43674408887392</c:v>
                </c:pt>
                <c:pt idx="216">
                  <c:v>477.92737088391101</c:v>
                </c:pt>
                <c:pt idx="217">
                  <c:v>479.19325318763896</c:v>
                </c:pt>
                <c:pt idx="218">
                  <c:v>478.68387998267139</c:v>
                </c:pt>
                <c:pt idx="219">
                  <c:v>479.4511758081282</c:v>
                </c:pt>
                <c:pt idx="220">
                  <c:v>479.82295832149464</c:v>
                </c:pt>
                <c:pt idx="221">
                  <c:v>480.20912313711801</c:v>
                </c:pt>
                <c:pt idx="222">
                  <c:v>480.58593945627115</c:v>
                </c:pt>
                <c:pt idx="223">
                  <c:v>480.70770961539</c:v>
                </c:pt>
                <c:pt idx="224">
                  <c:v>480.578029190032</c:v>
                </c:pt>
                <c:pt idx="225">
                  <c:v>481.33489784635202</c:v>
                </c:pt>
                <c:pt idx="226">
                  <c:v>481.72214133464405</c:v>
                </c:pt>
                <c:pt idx="227">
                  <c:v>482.09356429045198</c:v>
                </c:pt>
                <c:pt idx="228">
                  <c:v>482.97867514190369</c:v>
                </c:pt>
                <c:pt idx="229">
                  <c:v>482.46930193693896</c:v>
                </c:pt>
                <c:pt idx="230">
                  <c:v>483.23659776239242</c:v>
                </c:pt>
                <c:pt idx="231">
                  <c:v>483.73518424066663</c:v>
                </c:pt>
                <c:pt idx="232">
                  <c:v>483.22581103570138</c:v>
                </c:pt>
                <c:pt idx="233">
                  <c:v>483.99310686115558</c:v>
                </c:pt>
                <c:pt idx="234">
                  <c:v>484.36488937452475</c:v>
                </c:pt>
                <c:pt idx="235">
                  <c:v>484.75105419014602</c:v>
                </c:pt>
                <c:pt idx="236">
                  <c:v>485.12787050930314</c:v>
                </c:pt>
                <c:pt idx="237">
                  <c:v>485.2496406684192</c:v>
                </c:pt>
                <c:pt idx="238">
                  <c:v>484.74026746345402</c:v>
                </c:pt>
                <c:pt idx="239">
                  <c:v>486.00614976717839</c:v>
                </c:pt>
                <c:pt idx="240">
                  <c:v>486.26407238767069</c:v>
                </c:pt>
                <c:pt idx="241">
                  <c:v>486.63621445859025</c:v>
                </c:pt>
                <c:pt idx="242">
                  <c:v>487.02201971665875</c:v>
                </c:pt>
                <c:pt idx="243">
                  <c:v>487.39955515092799</c:v>
                </c:pt>
                <c:pt idx="244">
                  <c:v>487.39416178758199</c:v>
                </c:pt>
                <c:pt idx="245">
                  <c:v>488.15750247991701</c:v>
                </c:pt>
                <c:pt idx="246">
                  <c:v>488.15174955901398</c:v>
                </c:pt>
                <c:pt idx="247">
                  <c:v>488.91473069379401</c:v>
                </c:pt>
                <c:pt idx="248">
                  <c:v>489.03650085290758</c:v>
                </c:pt>
                <c:pt idx="249">
                  <c:v>489.66656554432097</c:v>
                </c:pt>
                <c:pt idx="250">
                  <c:v>490.052370802388</c:v>
                </c:pt>
                <c:pt idx="251">
                  <c:v>490.42990623665696</c:v>
                </c:pt>
                <c:pt idx="252">
                  <c:v>490.42451287330999</c:v>
                </c:pt>
                <c:pt idx="253">
                  <c:v>491.18785356564501</c:v>
                </c:pt>
                <c:pt idx="254">
                  <c:v>491.18246020229799</c:v>
                </c:pt>
                <c:pt idx="255">
                  <c:v>491.94580089463432</c:v>
                </c:pt>
                <c:pt idx="256">
                  <c:v>491.94040753128695</c:v>
                </c:pt>
                <c:pt idx="257">
                  <c:v>492.70374822362197</c:v>
                </c:pt>
                <c:pt idx="258">
                  <c:v>492.69835486027284</c:v>
                </c:pt>
                <c:pt idx="259">
                  <c:v>493.46169555260934</c:v>
                </c:pt>
                <c:pt idx="260">
                  <c:v>493.45630218926397</c:v>
                </c:pt>
                <c:pt idx="261">
                  <c:v>494.21964288159904</c:v>
                </c:pt>
                <c:pt idx="262">
                  <c:v>494.21424951825196</c:v>
                </c:pt>
                <c:pt idx="263">
                  <c:v>494.97759021058681</c:v>
                </c:pt>
                <c:pt idx="264">
                  <c:v>495.35584475996978</c:v>
                </c:pt>
                <c:pt idx="265">
                  <c:v>496.61741237302078</c:v>
                </c:pt>
                <c:pt idx="266">
                  <c:v>496.10803916805395</c:v>
                </c:pt>
                <c:pt idx="267">
                  <c:v>497.37392147178269</c:v>
                </c:pt>
                <c:pt idx="268">
                  <c:v>497.63184409227199</c:v>
                </c:pt>
                <c:pt idx="269">
                  <c:v>498.38979142126198</c:v>
                </c:pt>
                <c:pt idx="270">
                  <c:v>498.76732685552969</c:v>
                </c:pt>
                <c:pt idx="271">
                  <c:v>498.764450395079</c:v>
                </c:pt>
                <c:pt idx="272">
                  <c:v>499.52239772406705</c:v>
                </c:pt>
                <c:pt idx="273">
                  <c:v>499.90568607923905</c:v>
                </c:pt>
                <c:pt idx="274">
                  <c:v>500.28034505305601</c:v>
                </c:pt>
                <c:pt idx="275">
                  <c:v>501.043326187834</c:v>
                </c:pt>
                <c:pt idx="276">
                  <c:v>501.039371054713</c:v>
                </c:pt>
                <c:pt idx="277">
                  <c:v>501.79767794125638</c:v>
                </c:pt>
                <c:pt idx="278">
                  <c:v>502.18096629642997</c:v>
                </c:pt>
                <c:pt idx="279">
                  <c:v>502.55562527024705</c:v>
                </c:pt>
                <c:pt idx="280">
                  <c:v>503.318606405026</c:v>
                </c:pt>
                <c:pt idx="281">
                  <c:v>503.44085597421696</c:v>
                </c:pt>
                <c:pt idx="282">
                  <c:v>504.83629885078381</c:v>
                </c:pt>
                <c:pt idx="283">
                  <c:v>504.45408916828194</c:v>
                </c:pt>
                <c:pt idx="284">
                  <c:v>505.71613619140788</c:v>
                </c:pt>
                <c:pt idx="285">
                  <c:v>506.73296496103723</c:v>
                </c:pt>
                <c:pt idx="286">
                  <c:v>507.11050039530738</c:v>
                </c:pt>
                <c:pt idx="287">
                  <c:v>507.10798349241202</c:v>
                </c:pt>
                <c:pt idx="288">
                  <c:v>507.866649936513</c:v>
                </c:pt>
                <c:pt idx="289">
                  <c:v>508.62999062884938</c:v>
                </c:pt>
                <c:pt idx="290">
                  <c:v>508.751760787965</c:v>
                </c:pt>
                <c:pt idx="291">
                  <c:v>510.1473235170522</c:v>
                </c:pt>
                <c:pt idx="292">
                  <c:v>510.14444705659997</c:v>
                </c:pt>
                <c:pt idx="293">
                  <c:v>509.76259693165395</c:v>
                </c:pt>
                <c:pt idx="294">
                  <c:v>510.9016752704735</c:v>
                </c:pt>
                <c:pt idx="295">
                  <c:v>511.66465640525405</c:v>
                </c:pt>
                <c:pt idx="296">
                  <c:v>511.660701272133</c:v>
                </c:pt>
                <c:pt idx="297">
                  <c:v>512.41900815867803</c:v>
                </c:pt>
                <c:pt idx="298">
                  <c:v>513.18198929345704</c:v>
                </c:pt>
                <c:pt idx="299">
                  <c:v>513.30423886264794</c:v>
                </c:pt>
                <c:pt idx="300">
                  <c:v>514.32106763227796</c:v>
                </c:pt>
                <c:pt idx="301">
                  <c:v>514.69860306654994</c:v>
                </c:pt>
                <c:pt idx="302">
                  <c:v>514.69572660609822</c:v>
                </c:pt>
                <c:pt idx="303">
                  <c:v>515.58095731006654</c:v>
                </c:pt>
                <c:pt idx="304">
                  <c:v>515.83840052048095</c:v>
                </c:pt>
                <c:pt idx="305">
                  <c:v>516.97604062907851</c:v>
                </c:pt>
                <c:pt idx="306">
                  <c:v>516.97316416862554</c:v>
                </c:pt>
                <c:pt idx="307">
                  <c:v>516.97100682328596</c:v>
                </c:pt>
                <c:pt idx="308">
                  <c:v>518.49481174750554</c:v>
                </c:pt>
                <c:pt idx="309">
                  <c:v>518.49193528705405</c:v>
                </c:pt>
                <c:pt idx="310">
                  <c:v>518.48977794171822</c:v>
                </c:pt>
                <c:pt idx="311">
                  <c:v>520.01358286593347</c:v>
                </c:pt>
                <c:pt idx="312">
                  <c:v>520.01070640548198</c:v>
                </c:pt>
                <c:pt idx="313">
                  <c:v>520.00854906014627</c:v>
                </c:pt>
                <c:pt idx="314">
                  <c:v>521.53091575413703</c:v>
                </c:pt>
                <c:pt idx="315">
                  <c:v>521.52803929368554</c:v>
                </c:pt>
                <c:pt idx="316">
                  <c:v>523.04968687256496</c:v>
                </c:pt>
                <c:pt idx="317">
                  <c:v>523.04681041211347</c:v>
                </c:pt>
                <c:pt idx="318">
                  <c:v>524.56845799099347</c:v>
                </c:pt>
                <c:pt idx="319">
                  <c:v>524.56558153054254</c:v>
                </c:pt>
                <c:pt idx="320">
                  <c:v>526.08722910941867</c:v>
                </c:pt>
                <c:pt idx="321">
                  <c:v>526.08435264897355</c:v>
                </c:pt>
                <c:pt idx="322">
                  <c:v>527.60600022785354</c:v>
                </c:pt>
                <c:pt idx="323">
                  <c:v>527.60312376739955</c:v>
                </c:pt>
                <c:pt idx="324">
                  <c:v>529.12477134628352</c:v>
                </c:pt>
                <c:pt idx="325">
                  <c:v>529.12189488582749</c:v>
                </c:pt>
                <c:pt idx="326">
                  <c:v>530.64426157982155</c:v>
                </c:pt>
                <c:pt idx="327">
                  <c:v>530.64138511936903</c:v>
                </c:pt>
                <c:pt idx="328">
                  <c:v>532.16375181336252</c:v>
                </c:pt>
                <c:pt idx="329">
                  <c:v>532.16087535291103</c:v>
                </c:pt>
                <c:pt idx="330">
                  <c:v>533.68252293179103</c:v>
                </c:pt>
                <c:pt idx="331">
                  <c:v>533.6800060288989</c:v>
                </c:pt>
                <c:pt idx="332">
                  <c:v>535.20273228044505</c:v>
                </c:pt>
                <c:pt idx="333">
                  <c:v>535.19985581999401</c:v>
                </c:pt>
                <c:pt idx="334">
                  <c:v>536.72150339887401</c:v>
                </c:pt>
                <c:pt idx="335">
                  <c:v>536.71898649597847</c:v>
                </c:pt>
                <c:pt idx="336">
                  <c:v>538.24171274752803</c:v>
                </c:pt>
                <c:pt idx="337">
                  <c:v>538.23919584463295</c:v>
                </c:pt>
                <c:pt idx="338">
                  <c:v>539.76120298106946</c:v>
                </c:pt>
                <c:pt idx="339">
                  <c:v>539.75868607817836</c:v>
                </c:pt>
                <c:pt idx="340">
                  <c:v>541.28069321461305</c:v>
                </c:pt>
                <c:pt idx="341">
                  <c:v>541.27817631171854</c:v>
                </c:pt>
                <c:pt idx="342">
                  <c:v>542.80090256326605</c:v>
                </c:pt>
                <c:pt idx="343">
                  <c:v>542.79838566037665</c:v>
                </c:pt>
                <c:pt idx="344">
                  <c:v>544.32039279680703</c:v>
                </c:pt>
                <c:pt idx="345">
                  <c:v>544.31787589390797</c:v>
                </c:pt>
                <c:pt idx="346">
                  <c:v>545.84060214545718</c:v>
                </c:pt>
                <c:pt idx="347">
                  <c:v>545.83808524256654</c:v>
                </c:pt>
                <c:pt idx="348">
                  <c:v>547.36009237900294</c:v>
                </c:pt>
                <c:pt idx="349">
                  <c:v>547.35757547610808</c:v>
                </c:pt>
                <c:pt idx="350">
                  <c:v>548.88030172765855</c:v>
                </c:pt>
                <c:pt idx="351">
                  <c:v>548.87778482476199</c:v>
                </c:pt>
                <c:pt idx="352">
                  <c:v>550.40051107631302</c:v>
                </c:pt>
                <c:pt idx="353">
                  <c:v>550.39763461586006</c:v>
                </c:pt>
                <c:pt idx="354">
                  <c:v>551.92000130985309</c:v>
                </c:pt>
                <c:pt idx="355">
                  <c:v>551.9174844069579</c:v>
                </c:pt>
                <c:pt idx="356">
                  <c:v>553.440210658507</c:v>
                </c:pt>
                <c:pt idx="357">
                  <c:v>553.43769375561146</c:v>
                </c:pt>
                <c:pt idx="358">
                  <c:v>554.95970089204798</c:v>
                </c:pt>
                <c:pt idx="359">
                  <c:v>554.95718398915346</c:v>
                </c:pt>
                <c:pt idx="360">
                  <c:v>556.47991024070302</c:v>
                </c:pt>
                <c:pt idx="361">
                  <c:v>556.47739333780805</c:v>
                </c:pt>
                <c:pt idx="362">
                  <c:v>558.00011958935795</c:v>
                </c:pt>
                <c:pt idx="363">
                  <c:v>557.99760268646298</c:v>
                </c:pt>
                <c:pt idx="364">
                  <c:v>559.52032893801254</c:v>
                </c:pt>
                <c:pt idx="365">
                  <c:v>559.517812035117</c:v>
                </c:pt>
                <c:pt idx="366">
                  <c:v>561.04053828666804</c:v>
                </c:pt>
                <c:pt idx="367">
                  <c:v>561.03802138377046</c:v>
                </c:pt>
                <c:pt idx="368">
                  <c:v>562.56002852020799</c:v>
                </c:pt>
                <c:pt idx="369">
                  <c:v>562.55751161731291</c:v>
                </c:pt>
                <c:pt idx="370">
                  <c:v>564.08023786886304</c:v>
                </c:pt>
                <c:pt idx="371">
                  <c:v>564.07772096596705</c:v>
                </c:pt>
                <c:pt idx="372">
                  <c:v>565.60044721751854</c:v>
                </c:pt>
                <c:pt idx="373">
                  <c:v>565.59793031462095</c:v>
                </c:pt>
                <c:pt idx="374">
                  <c:v>567.12065656617426</c:v>
                </c:pt>
                <c:pt idx="375">
                  <c:v>567.11813966327804</c:v>
                </c:pt>
                <c:pt idx="376">
                  <c:v>568.64086591482499</c:v>
                </c:pt>
                <c:pt idx="377">
                  <c:v>568.63834901193002</c:v>
                </c:pt>
                <c:pt idx="378">
                  <c:v>570.16107526348003</c:v>
                </c:pt>
                <c:pt idx="379">
                  <c:v>570.15855836058495</c:v>
                </c:pt>
                <c:pt idx="380">
                  <c:v>571.30087271741399</c:v>
                </c:pt>
                <c:pt idx="381">
                  <c:v>571.29871537207896</c:v>
                </c:pt>
              </c:numCache>
            </c:numRef>
          </c:xVal>
          <c:yVal>
            <c:numRef>
              <c:f>'Visible Calculation'!$G$4:$G$385</c:f>
              <c:numCache>
                <c:formatCode>0</c:formatCode>
                <c:ptCount val="382"/>
                <c:pt idx="0">
                  <c:v>0.59399307261213263</c:v>
                </c:pt>
                <c:pt idx="1">
                  <c:v>0.60236916564374299</c:v>
                </c:pt>
                <c:pt idx="2">
                  <c:v>0.59435702476093077</c:v>
                </c:pt>
                <c:pt idx="3">
                  <c:v>0.60692675742590041</c:v>
                </c:pt>
                <c:pt idx="4">
                  <c:v>0.59777641712273799</c:v>
                </c:pt>
                <c:pt idx="5">
                  <c:v>0.61148594724163396</c:v>
                </c:pt>
                <c:pt idx="6">
                  <c:v>0.60462479004784964</c:v>
                </c:pt>
                <c:pt idx="7">
                  <c:v>0.62062350327612181</c:v>
                </c:pt>
                <c:pt idx="8">
                  <c:v>0.61147316297295717</c:v>
                </c:pt>
                <c:pt idx="9">
                  <c:v>0.62518269309185603</c:v>
                </c:pt>
                <c:pt idx="10">
                  <c:v>0.61832153589807382</c:v>
                </c:pt>
                <c:pt idx="11">
                  <c:v>0.63432184715992834</c:v>
                </c:pt>
                <c:pt idx="12">
                  <c:v>0.62630970627711935</c:v>
                </c:pt>
                <c:pt idx="13">
                  <c:v>0.63887943894208321</c:v>
                </c:pt>
                <c:pt idx="14">
                  <c:v>0.62972909863892479</c:v>
                </c:pt>
                <c:pt idx="15">
                  <c:v>0.64801699497656351</c:v>
                </c:pt>
                <c:pt idx="16">
                  <c:v>0.63886665467340875</c:v>
                </c:pt>
                <c:pt idx="17">
                  <c:v>0.65257618479229818</c:v>
                </c:pt>
                <c:pt idx="18">
                  <c:v>0.64342584448914575</c:v>
                </c:pt>
                <c:pt idx="19">
                  <c:v>0.66171374082678602</c:v>
                </c:pt>
                <c:pt idx="20">
                  <c:v>0.65256340052362705</c:v>
                </c:pt>
                <c:pt idx="21">
                  <c:v>0.66627293064252535</c:v>
                </c:pt>
                <c:pt idx="22">
                  <c:v>0.65712259033936504</c:v>
                </c:pt>
                <c:pt idx="23">
                  <c:v>0.67541048667700965</c:v>
                </c:pt>
                <c:pt idx="24">
                  <c:v>0.66626014637385234</c:v>
                </c:pt>
                <c:pt idx="25">
                  <c:v>0.68454804271149305</c:v>
                </c:pt>
                <c:pt idx="26">
                  <c:v>0.67539770240833819</c:v>
                </c:pt>
                <c:pt idx="27">
                  <c:v>0.69368719677956303</c:v>
                </c:pt>
                <c:pt idx="28">
                  <c:v>0.68453046434206488</c:v>
                </c:pt>
                <c:pt idx="29">
                  <c:v>0.67766770911469865</c:v>
                </c:pt>
                <c:pt idx="30">
                  <c:v>0.69824478856171601</c:v>
                </c:pt>
                <c:pt idx="31">
                  <c:v>0.68909444825855981</c:v>
                </c:pt>
                <c:pt idx="32">
                  <c:v>0.70738234459619997</c:v>
                </c:pt>
                <c:pt idx="33">
                  <c:v>0.698232004293042</c:v>
                </c:pt>
                <c:pt idx="34">
                  <c:v>0.71651990063068605</c:v>
                </c:pt>
                <c:pt idx="35">
                  <c:v>0.70736956032752696</c:v>
                </c:pt>
                <c:pt idx="36">
                  <c:v>0.72565745666517734</c:v>
                </c:pt>
                <c:pt idx="37">
                  <c:v>0.71535773070657305</c:v>
                </c:pt>
                <c:pt idx="38">
                  <c:v>0.73479501269966196</c:v>
                </c:pt>
                <c:pt idx="39">
                  <c:v>0.72564467239650421</c:v>
                </c:pt>
                <c:pt idx="40">
                  <c:v>0.71877712306837882</c:v>
                </c:pt>
                <c:pt idx="41">
                  <c:v>0.74393256873414049</c:v>
                </c:pt>
                <c:pt idx="42">
                  <c:v>0.73363284277554364</c:v>
                </c:pt>
                <c:pt idx="43">
                  <c:v>0.72791467910286101</c:v>
                </c:pt>
                <c:pt idx="44">
                  <c:v>0.753070124768626</c:v>
                </c:pt>
                <c:pt idx="45">
                  <c:v>0.74277039881002804</c:v>
                </c:pt>
                <c:pt idx="46">
                  <c:v>0.73705223513734597</c:v>
                </c:pt>
                <c:pt idx="47">
                  <c:v>0.76220768080311263</c:v>
                </c:pt>
                <c:pt idx="48">
                  <c:v>0.75190795484451534</c:v>
                </c:pt>
                <c:pt idx="49">
                  <c:v>0.74618979117183104</c:v>
                </c:pt>
                <c:pt idx="50">
                  <c:v>0.77134683487118383</c:v>
                </c:pt>
                <c:pt idx="51">
                  <c:v>0.76219010243368956</c:v>
                </c:pt>
                <c:pt idx="52">
                  <c:v>0.755327347206316</c:v>
                </c:pt>
                <c:pt idx="53">
                  <c:v>0.78048439090566235</c:v>
                </c:pt>
                <c:pt idx="54">
                  <c:v>0.77132765846817619</c:v>
                </c:pt>
                <c:pt idx="55">
                  <c:v>0.76446490324080163</c:v>
                </c:pt>
                <c:pt idx="56">
                  <c:v>0.78962034890656696</c:v>
                </c:pt>
                <c:pt idx="57">
                  <c:v>0.779320622947968</c:v>
                </c:pt>
                <c:pt idx="58">
                  <c:v>0.77360245927528881</c:v>
                </c:pt>
                <c:pt idx="59">
                  <c:v>0.79417953872230396</c:v>
                </c:pt>
                <c:pt idx="60">
                  <c:v>0.78502919841914565</c:v>
                </c:pt>
                <c:pt idx="61">
                  <c:v>0.80331709475678859</c:v>
                </c:pt>
                <c:pt idx="62">
                  <c:v>0.7941667544536295</c:v>
                </c:pt>
                <c:pt idx="63">
                  <c:v>0.81245465079127399</c:v>
                </c:pt>
                <c:pt idx="64">
                  <c:v>0.80330431048811735</c:v>
                </c:pt>
                <c:pt idx="65">
                  <c:v>0.82159220682575851</c:v>
                </c:pt>
                <c:pt idx="66">
                  <c:v>0.81244186652260164</c:v>
                </c:pt>
                <c:pt idx="67">
                  <c:v>0.83072976286024403</c:v>
                </c:pt>
                <c:pt idx="68">
                  <c:v>0.82043003690164551</c:v>
                </c:pt>
                <c:pt idx="69">
                  <c:v>0.8147118732289661</c:v>
                </c:pt>
                <c:pt idx="70">
                  <c:v>0.83986891692831633</c:v>
                </c:pt>
                <c:pt idx="71">
                  <c:v>0.83071218449081796</c:v>
                </c:pt>
                <c:pt idx="72">
                  <c:v>0.82384942926345206</c:v>
                </c:pt>
                <c:pt idx="73">
                  <c:v>0.84442650871046465</c:v>
                </c:pt>
                <c:pt idx="74">
                  <c:v>0.83527616840730756</c:v>
                </c:pt>
                <c:pt idx="75">
                  <c:v>0.85356406474494917</c:v>
                </c:pt>
                <c:pt idx="76">
                  <c:v>0.84441372444179297</c:v>
                </c:pt>
                <c:pt idx="77">
                  <c:v>0.86270321881302381</c:v>
                </c:pt>
                <c:pt idx="78">
                  <c:v>0.8535464863755281</c:v>
                </c:pt>
                <c:pt idx="79">
                  <c:v>0.84668373114815765</c:v>
                </c:pt>
                <c:pt idx="80">
                  <c:v>0.86726081059517879</c:v>
                </c:pt>
                <c:pt idx="81">
                  <c:v>0.85811047029201504</c:v>
                </c:pt>
                <c:pt idx="82">
                  <c:v>0.87639836662965964</c:v>
                </c:pt>
                <c:pt idx="83">
                  <c:v>0.86724802632650522</c:v>
                </c:pt>
                <c:pt idx="84">
                  <c:v>0.88553592266414405</c:v>
                </c:pt>
                <c:pt idx="85">
                  <c:v>0.87523619670554598</c:v>
                </c:pt>
                <c:pt idx="86">
                  <c:v>0.89009511247988682</c:v>
                </c:pt>
                <c:pt idx="87">
                  <c:v>0.88094477217672362</c:v>
                </c:pt>
                <c:pt idx="88">
                  <c:v>0.89923266851436656</c:v>
                </c:pt>
                <c:pt idx="89">
                  <c:v>0.89008232821120481</c:v>
                </c:pt>
                <c:pt idx="90">
                  <c:v>0.90837022454885263</c:v>
                </c:pt>
                <c:pt idx="91">
                  <c:v>0.89921988424569299</c:v>
                </c:pt>
                <c:pt idx="92">
                  <c:v>0.91750778058333649</c:v>
                </c:pt>
                <c:pt idx="93">
                  <c:v>0.90835744028017795</c:v>
                </c:pt>
                <c:pt idx="94">
                  <c:v>0.92664533661782644</c:v>
                </c:pt>
                <c:pt idx="95">
                  <c:v>0.91634561065922682</c:v>
                </c:pt>
                <c:pt idx="96">
                  <c:v>0.93578289265230763</c:v>
                </c:pt>
                <c:pt idx="97">
                  <c:v>0.925483166693709</c:v>
                </c:pt>
                <c:pt idx="98">
                  <c:v>0.91976500302102704</c:v>
                </c:pt>
                <c:pt idx="99">
                  <c:v>0.94492204672037605</c:v>
                </c:pt>
                <c:pt idx="100">
                  <c:v>0.93576531428288334</c:v>
                </c:pt>
                <c:pt idx="101">
                  <c:v>0.928902559055512</c:v>
                </c:pt>
                <c:pt idx="102">
                  <c:v>0.94947963850253181</c:v>
                </c:pt>
                <c:pt idx="103">
                  <c:v>0.94032929819937394</c:v>
                </c:pt>
                <c:pt idx="104">
                  <c:v>0.95861719453701399</c:v>
                </c:pt>
                <c:pt idx="105">
                  <c:v>0.94946685423385602</c:v>
                </c:pt>
                <c:pt idx="106">
                  <c:v>0.96775634860508464</c:v>
                </c:pt>
                <c:pt idx="107">
                  <c:v>0.95859961616759293</c:v>
                </c:pt>
                <c:pt idx="108">
                  <c:v>0.97231394038723418</c:v>
                </c:pt>
                <c:pt idx="109">
                  <c:v>0.96316360008407864</c:v>
                </c:pt>
                <c:pt idx="110">
                  <c:v>0.97687313020297395</c:v>
                </c:pt>
                <c:pt idx="111">
                  <c:v>0.97001197300919206</c:v>
                </c:pt>
                <c:pt idx="112">
                  <c:v>0.98219538105516857</c:v>
                </c:pt>
                <c:pt idx="113">
                  <c:v>0.97457116282492651</c:v>
                </c:pt>
                <c:pt idx="114">
                  <c:v>0.99057147408678103</c:v>
                </c:pt>
                <c:pt idx="115">
                  <c:v>0.98255933320397204</c:v>
                </c:pt>
                <c:pt idx="116">
                  <c:v>0.99131376068664023</c:v>
                </c:pt>
                <c:pt idx="117">
                  <c:v>0.98368954245640094</c:v>
                </c:pt>
                <c:pt idx="118">
                  <c:v>0.99511148749950795</c:v>
                </c:pt>
                <c:pt idx="119">
                  <c:v>0.988243938171386</c:v>
                </c:pt>
                <c:pt idx="120">
                  <c:v>0.99967067731524495</c:v>
                </c:pt>
                <c:pt idx="121">
                  <c:v>0.99280312798712256</c:v>
                </c:pt>
                <c:pt idx="122">
                  <c:v>0.99965150091223165</c:v>
                </c:pt>
                <c:pt idx="123">
                  <c:v>0.99278395158411303</c:v>
                </c:pt>
                <c:pt idx="124">
                  <c:v>1.0003937875120847</c:v>
                </c:pt>
                <c:pt idx="125">
                  <c:v>0.99276956928185456</c:v>
                </c:pt>
                <c:pt idx="126">
                  <c:v>1.0041915143249598</c:v>
                </c:pt>
                <c:pt idx="127">
                  <c:v>0.99732396499683718</c:v>
                </c:pt>
                <c:pt idx="128">
                  <c:v>1.00417233792195</c:v>
                </c:pt>
                <c:pt idx="129">
                  <c:v>0.99730478859382898</c:v>
                </c:pt>
                <c:pt idx="130">
                  <c:v>1.0041531615189463</c:v>
                </c:pt>
                <c:pt idx="131">
                  <c:v>0.99728561219082135</c:v>
                </c:pt>
                <c:pt idx="132">
                  <c:v>1.0041339851159299</c:v>
                </c:pt>
                <c:pt idx="133">
                  <c:v>0.99726643578780483</c:v>
                </c:pt>
                <c:pt idx="134">
                  <c:v>1.0041148087129199</c:v>
                </c:pt>
                <c:pt idx="135">
                  <c:v>0.99724725938479863</c:v>
                </c:pt>
                <c:pt idx="136">
                  <c:v>1.0018064492005299</c:v>
                </c:pt>
                <c:pt idx="137">
                  <c:v>0.99493889987241257</c:v>
                </c:pt>
                <c:pt idx="138">
                  <c:v>0.99949808968815101</c:v>
                </c:pt>
                <c:pt idx="139">
                  <c:v>0.99263054036002896</c:v>
                </c:pt>
                <c:pt idx="140">
                  <c:v>0.99490054706639297</c:v>
                </c:pt>
                <c:pt idx="141">
                  <c:v>0.98803299773827058</c:v>
                </c:pt>
                <c:pt idx="142">
                  <c:v>0.99259218755400758</c:v>
                </c:pt>
                <c:pt idx="143">
                  <c:v>0.98458004667119992</c:v>
                </c:pt>
                <c:pt idx="144">
                  <c:v>0.98799464493224765</c:v>
                </c:pt>
                <c:pt idx="145">
                  <c:v>0.97998250404944098</c:v>
                </c:pt>
                <c:pt idx="146">
                  <c:v>0.98339710231049204</c:v>
                </c:pt>
                <c:pt idx="147">
                  <c:v>0.9753849614276825</c:v>
                </c:pt>
                <c:pt idx="148">
                  <c:v>0.97879955968873733</c:v>
                </c:pt>
                <c:pt idx="149">
                  <c:v>0.96964282725123863</c:v>
                </c:pt>
                <c:pt idx="150">
                  <c:v>0.9696236508482291</c:v>
                </c:pt>
                <c:pt idx="151">
                  <c:v>0.96275610152010604</c:v>
                </c:pt>
                <c:pt idx="152">
                  <c:v>0.9650261082264685</c:v>
                </c:pt>
                <c:pt idx="153">
                  <c:v>0.95586937578897402</c:v>
                </c:pt>
                <c:pt idx="154">
                  <c:v>0.95813938249533703</c:v>
                </c:pt>
                <c:pt idx="155">
                  <c:v>0.94898265005784199</c:v>
                </c:pt>
                <c:pt idx="156">
                  <c:v>0.95125265676420501</c:v>
                </c:pt>
                <c:pt idx="157">
                  <c:v>0.94209592432670963</c:v>
                </c:pt>
                <c:pt idx="158">
                  <c:v>0.942076747923699</c:v>
                </c:pt>
                <c:pt idx="159">
                  <c:v>0.93292001548620362</c:v>
                </c:pt>
                <c:pt idx="160">
                  <c:v>0.93519002219256764</c:v>
                </c:pt>
                <c:pt idx="161">
                  <c:v>0.92603328975507049</c:v>
                </c:pt>
                <c:pt idx="162">
                  <c:v>0.91801156067075751</c:v>
                </c:pt>
                <c:pt idx="163">
                  <c:v>0.92601411335206096</c:v>
                </c:pt>
                <c:pt idx="164">
                  <c:v>0.91684779271306005</c:v>
                </c:pt>
                <c:pt idx="165">
                  <c:v>0.9088356518302515</c:v>
                </c:pt>
                <c:pt idx="166">
                  <c:v>0.91453943320067665</c:v>
                </c:pt>
                <c:pt idx="167">
                  <c:v>0.9053827007631795</c:v>
                </c:pt>
                <c:pt idx="168">
                  <c:v>0.89851515143505856</c:v>
                </c:pt>
                <c:pt idx="169">
                  <c:v>0.90536352436016765</c:v>
                </c:pt>
                <c:pt idx="170">
                  <c:v>0.89620679192267083</c:v>
                </c:pt>
                <c:pt idx="171">
                  <c:v>0.8893392425945551</c:v>
                </c:pt>
                <c:pt idx="172">
                  <c:v>0.89160924930091601</c:v>
                </c:pt>
                <c:pt idx="173">
                  <c:v>0.88245251686342097</c:v>
                </c:pt>
                <c:pt idx="174">
                  <c:v>0.87558496753529902</c:v>
                </c:pt>
                <c:pt idx="175">
                  <c:v>0.88243334046040856</c:v>
                </c:pt>
                <c:pt idx="176">
                  <c:v>0.87327660802291396</c:v>
                </c:pt>
                <c:pt idx="177">
                  <c:v>0.86640905869479756</c:v>
                </c:pt>
                <c:pt idx="178">
                  <c:v>0.87555140883003002</c:v>
                </c:pt>
                <c:pt idx="179">
                  <c:v>0.86638988229178482</c:v>
                </c:pt>
                <c:pt idx="180">
                  <c:v>0.85723314985428656</c:v>
                </c:pt>
                <c:pt idx="181">
                  <c:v>0.85150060387934701</c:v>
                </c:pt>
                <c:pt idx="182">
                  <c:v>0.86179713377077982</c:v>
                </c:pt>
                <c:pt idx="183">
                  <c:v>0.84347887479503303</c:v>
                </c:pt>
                <c:pt idx="184">
                  <c:v>0.8526308131317808</c:v>
                </c:pt>
                <c:pt idx="185">
                  <c:v>0.83431255415603156</c:v>
                </c:pt>
                <c:pt idx="186">
                  <c:v>0.84117051528264897</c:v>
                </c:pt>
                <c:pt idx="187">
                  <c:v>0.82514463548345018</c:v>
                </c:pt>
                <c:pt idx="188">
                  <c:v>0.81254613821397004</c:v>
                </c:pt>
                <c:pt idx="189">
                  <c:v>0.8297102174335258</c:v>
                </c:pt>
                <c:pt idx="190">
                  <c:v>0.82054869089527305</c:v>
                </c:pt>
                <c:pt idx="191">
                  <c:v>0.80337981757497268</c:v>
                </c:pt>
                <c:pt idx="192">
                  <c:v>0.81138237025627258</c:v>
                </c:pt>
                <c:pt idx="193">
                  <c:v>0.79421349693596588</c:v>
                </c:pt>
                <c:pt idx="194">
                  <c:v>0.80221604961726989</c:v>
                </c:pt>
                <c:pt idx="195">
                  <c:v>0.78504717629696796</c:v>
                </c:pt>
                <c:pt idx="196">
                  <c:v>0.79304972897827164</c:v>
                </c:pt>
                <c:pt idx="197">
                  <c:v>0.77588085565796705</c:v>
                </c:pt>
                <c:pt idx="198">
                  <c:v>0.78388340833926951</c:v>
                </c:pt>
                <c:pt idx="199">
                  <c:v>0.76556994346427965</c:v>
                </c:pt>
                <c:pt idx="200">
                  <c:v>0.77242790459089783</c:v>
                </c:pt>
                <c:pt idx="201">
                  <c:v>0.75640202479169349</c:v>
                </c:pt>
                <c:pt idx="202">
                  <c:v>0.74380352752221701</c:v>
                </c:pt>
                <c:pt idx="203">
                  <c:v>0.760967606741768</c:v>
                </c:pt>
                <c:pt idx="204">
                  <c:v>0.75180608020352235</c:v>
                </c:pt>
                <c:pt idx="205">
                  <c:v>0.73349261532853183</c:v>
                </c:pt>
                <c:pt idx="206">
                  <c:v>0.74035057645514735</c:v>
                </c:pt>
                <c:pt idx="207">
                  <c:v>0.72432469665594634</c:v>
                </c:pt>
                <c:pt idx="208">
                  <c:v>0.71746353946215857</c:v>
                </c:pt>
                <c:pt idx="209">
                  <c:v>0.71058000979819602</c:v>
                </c:pt>
                <c:pt idx="210">
                  <c:v>0.7037188526044158</c:v>
                </c:pt>
                <c:pt idx="211">
                  <c:v>0.72431191238727211</c:v>
                </c:pt>
                <c:pt idx="212">
                  <c:v>0.69683692097403049</c:v>
                </c:pt>
                <c:pt idx="213">
                  <c:v>0.71514559174826997</c:v>
                </c:pt>
                <c:pt idx="214">
                  <c:v>0.70369488210065034</c:v>
                </c:pt>
                <c:pt idx="215">
                  <c:v>0.68766900230144834</c:v>
                </c:pt>
                <c:pt idx="216">
                  <c:v>0.68080784510766057</c:v>
                </c:pt>
                <c:pt idx="217">
                  <c:v>0.67392431544370279</c:v>
                </c:pt>
                <c:pt idx="218">
                  <c:v>0.66706315824991302</c:v>
                </c:pt>
                <c:pt idx="219">
                  <c:v>0.6876562180327751</c:v>
                </c:pt>
                <c:pt idx="220">
                  <c:v>0.66018122661953782</c:v>
                </c:pt>
                <c:pt idx="221">
                  <c:v>0.67848989739377774</c:v>
                </c:pt>
                <c:pt idx="222">
                  <c:v>0.66703918774615001</c:v>
                </c:pt>
                <c:pt idx="223">
                  <c:v>0.65101330794694756</c:v>
                </c:pt>
                <c:pt idx="224">
                  <c:v>0.64185817354304076</c:v>
                </c:pt>
                <c:pt idx="225">
                  <c:v>0.62925807823997781</c:v>
                </c:pt>
                <c:pt idx="226">
                  <c:v>0.65100052367827899</c:v>
                </c:pt>
                <c:pt idx="227">
                  <c:v>0.62238094071034689</c:v>
                </c:pt>
                <c:pt idx="228">
                  <c:v>0.61435761359245333</c:v>
                </c:pt>
                <c:pt idx="229">
                  <c:v>0.60749645639866834</c:v>
                </c:pt>
                <c:pt idx="230">
                  <c:v>0.62808951618152875</c:v>
                </c:pt>
                <c:pt idx="231">
                  <c:v>0.60061292673470201</c:v>
                </c:pt>
                <c:pt idx="232">
                  <c:v>0.59375176954091657</c:v>
                </c:pt>
                <c:pt idx="233">
                  <c:v>0.61434482932378076</c:v>
                </c:pt>
                <c:pt idx="234">
                  <c:v>0.58686983791053804</c:v>
                </c:pt>
                <c:pt idx="235">
                  <c:v>0.60517850868477918</c:v>
                </c:pt>
                <c:pt idx="236">
                  <c:v>0.59372779903715356</c:v>
                </c:pt>
                <c:pt idx="237">
                  <c:v>0.577701919237953</c:v>
                </c:pt>
                <c:pt idx="238">
                  <c:v>0.57084076204417067</c:v>
                </c:pt>
                <c:pt idx="239">
                  <c:v>0.56395723238020634</c:v>
                </c:pt>
                <c:pt idx="240">
                  <c:v>0.57768913496927965</c:v>
                </c:pt>
                <c:pt idx="241">
                  <c:v>0.55135873511072697</c:v>
                </c:pt>
                <c:pt idx="242">
                  <c:v>0.56852281433027863</c:v>
                </c:pt>
                <c:pt idx="243">
                  <c:v>0.55936128779202765</c:v>
                </c:pt>
                <c:pt idx="244">
                  <c:v>0.54219241447172595</c:v>
                </c:pt>
                <c:pt idx="245">
                  <c:v>0.55019496715302962</c:v>
                </c:pt>
                <c:pt idx="246">
                  <c:v>0.53188150227803865</c:v>
                </c:pt>
                <c:pt idx="247">
                  <c:v>0.53873946340465495</c:v>
                </c:pt>
                <c:pt idx="248">
                  <c:v>0.5227135836054525</c:v>
                </c:pt>
                <c:pt idx="249">
                  <c:v>0.51011508633597602</c:v>
                </c:pt>
                <c:pt idx="250">
                  <c:v>0.52727916555552701</c:v>
                </c:pt>
                <c:pt idx="251">
                  <c:v>0.51811763901727859</c:v>
                </c:pt>
                <c:pt idx="252">
                  <c:v>0.500948765696975</c:v>
                </c:pt>
                <c:pt idx="253">
                  <c:v>0.50895131837828034</c:v>
                </c:pt>
                <c:pt idx="254">
                  <c:v>0.49178244505797564</c:v>
                </c:pt>
                <c:pt idx="255">
                  <c:v>0.4997849977392807</c:v>
                </c:pt>
                <c:pt idx="256">
                  <c:v>0.482616124418974</c:v>
                </c:pt>
                <c:pt idx="257">
                  <c:v>0.4906186771002794</c:v>
                </c:pt>
                <c:pt idx="258">
                  <c:v>0.47344980377997453</c:v>
                </c:pt>
                <c:pt idx="259">
                  <c:v>0.48145235646127599</c:v>
                </c:pt>
                <c:pt idx="260">
                  <c:v>0.46428348314097317</c:v>
                </c:pt>
                <c:pt idx="261">
                  <c:v>0.47228603582227641</c:v>
                </c:pt>
                <c:pt idx="262">
                  <c:v>0.45511716250197093</c:v>
                </c:pt>
                <c:pt idx="263">
                  <c:v>0.46311971518327538</c:v>
                </c:pt>
                <c:pt idx="264">
                  <c:v>0.45624737175440105</c:v>
                </c:pt>
                <c:pt idx="265">
                  <c:v>0.43562874343419405</c:v>
                </c:pt>
                <c:pt idx="266">
                  <c:v>0.42876758624041017</c:v>
                </c:pt>
                <c:pt idx="267">
                  <c:v>0.42188405657644618</c:v>
                </c:pt>
                <c:pt idx="268">
                  <c:v>0.43561595916551998</c:v>
                </c:pt>
                <c:pt idx="269">
                  <c:v>0.42644963852651879</c:v>
                </c:pt>
                <c:pt idx="270">
                  <c:v>0.41728811198827287</c:v>
                </c:pt>
                <c:pt idx="271">
                  <c:v>0.408131379550775</c:v>
                </c:pt>
                <c:pt idx="272">
                  <c:v>0.39896505891177497</c:v>
                </c:pt>
                <c:pt idx="273">
                  <c:v>0.40811699724851841</c:v>
                </c:pt>
                <c:pt idx="274">
                  <c:v>0.38979873827277517</c:v>
                </c:pt>
                <c:pt idx="275">
                  <c:v>0.39665669939939241</c:v>
                </c:pt>
                <c:pt idx="276">
                  <c:v>0.3840661922978364</c:v>
                </c:pt>
                <c:pt idx="277">
                  <c:v>0.37604446321352153</c:v>
                </c:pt>
                <c:pt idx="278">
                  <c:v>0.38519640155026441</c:v>
                </c:pt>
                <c:pt idx="279">
                  <c:v>0.36687814257452017</c:v>
                </c:pt>
                <c:pt idx="280">
                  <c:v>0.37373610370113575</c:v>
                </c:pt>
                <c:pt idx="281">
                  <c:v>0.35923634597485188</c:v>
                </c:pt>
                <c:pt idx="282">
                  <c:v>0.36112642019656932</c:v>
                </c:pt>
                <c:pt idx="283">
                  <c:v>0.35540825652388702</c:v>
                </c:pt>
                <c:pt idx="284">
                  <c:v>0.33631575027659638</c:v>
                </c:pt>
                <c:pt idx="285">
                  <c:v>0.34393357637250238</c:v>
                </c:pt>
                <c:pt idx="286">
                  <c:v>0.33477204983425546</c:v>
                </c:pt>
                <c:pt idx="287">
                  <c:v>0.32675990895144641</c:v>
                </c:pt>
                <c:pt idx="288">
                  <c:v>0.3198827714218207</c:v>
                </c:pt>
                <c:pt idx="289">
                  <c:v>0.32788532410312132</c:v>
                </c:pt>
                <c:pt idx="290">
                  <c:v>0.31185944430392032</c:v>
                </c:pt>
                <c:pt idx="291">
                  <c:v>0.31413104904386802</c:v>
                </c:pt>
                <c:pt idx="292">
                  <c:v>0.30497431660637198</c:v>
                </c:pt>
                <c:pt idx="293">
                  <c:v>0.300400744488377</c:v>
                </c:pt>
                <c:pt idx="294">
                  <c:v>0.29351881285799841</c:v>
                </c:pt>
                <c:pt idx="295">
                  <c:v>0.30037677398461798</c:v>
                </c:pt>
                <c:pt idx="296">
                  <c:v>0.28778626688305853</c:v>
                </c:pt>
                <c:pt idx="297">
                  <c:v>0.27976453779874438</c:v>
                </c:pt>
                <c:pt idx="298">
                  <c:v>0.28662249892536124</c:v>
                </c:pt>
                <c:pt idx="299">
                  <c:v>0.27212274119907653</c:v>
                </c:pt>
                <c:pt idx="300">
                  <c:v>0.27974056729498253</c:v>
                </c:pt>
                <c:pt idx="301">
                  <c:v>0.27057904075673173</c:v>
                </c:pt>
                <c:pt idx="302">
                  <c:v>0.26142230831923841</c:v>
                </c:pt>
                <c:pt idx="303">
                  <c:v>0.25378051171956906</c:v>
                </c:pt>
                <c:pt idx="304">
                  <c:v>0.26598629223572817</c:v>
                </c:pt>
                <c:pt idx="305">
                  <c:v>0.25452599438659901</c:v>
                </c:pt>
                <c:pt idx="306">
                  <c:v>0.24536926194910424</c:v>
                </c:pt>
                <c:pt idx="307">
                  <c:v>0.23850171262098188</c:v>
                </c:pt>
                <c:pt idx="308">
                  <c:v>0.24535008554609408</c:v>
                </c:pt>
                <c:pt idx="309">
                  <c:v>0.23619335310859799</c:v>
                </c:pt>
                <c:pt idx="310">
                  <c:v>0.22932580378047601</c:v>
                </c:pt>
                <c:pt idx="311">
                  <c:v>0.23617417670558633</c:v>
                </c:pt>
                <c:pt idx="312">
                  <c:v>0.22701744426809262</c:v>
                </c:pt>
                <c:pt idx="313">
                  <c:v>0.22014989493997</c:v>
                </c:pt>
                <c:pt idx="314">
                  <c:v>0.22241990164633488</c:v>
                </c:pt>
                <c:pt idx="315">
                  <c:v>0.213263169208838</c:v>
                </c:pt>
                <c:pt idx="316">
                  <c:v>0.2132439928058292</c:v>
                </c:pt>
                <c:pt idx="317">
                  <c:v>0.20408726036833241</c:v>
                </c:pt>
                <c:pt idx="318">
                  <c:v>0.20406808396532308</c:v>
                </c:pt>
                <c:pt idx="319">
                  <c:v>0.19491135152782729</c:v>
                </c:pt>
                <c:pt idx="320">
                  <c:v>0.19489217512481588</c:v>
                </c:pt>
                <c:pt idx="321">
                  <c:v>0.18573544268732173</c:v>
                </c:pt>
                <c:pt idx="322">
                  <c:v>0.18571626628431076</c:v>
                </c:pt>
                <c:pt idx="323">
                  <c:v>0.17655953384681441</c:v>
                </c:pt>
                <c:pt idx="324">
                  <c:v>0.17654035744380456</c:v>
                </c:pt>
                <c:pt idx="325">
                  <c:v>0.16738362500630788</c:v>
                </c:pt>
                <c:pt idx="326">
                  <c:v>0.169653631712672</c:v>
                </c:pt>
                <c:pt idx="327">
                  <c:v>0.16049689927517599</c:v>
                </c:pt>
                <c:pt idx="328">
                  <c:v>0.16276690598153901</c:v>
                </c:pt>
                <c:pt idx="329">
                  <c:v>0.15361017354404399</c:v>
                </c:pt>
                <c:pt idx="330">
                  <c:v>0.15359099714103397</c:v>
                </c:pt>
                <c:pt idx="331">
                  <c:v>0.145578856258225</c:v>
                </c:pt>
                <c:pt idx="332">
                  <c:v>0.1489934545192762</c:v>
                </c:pt>
                <c:pt idx="333">
                  <c:v>0.13983672208178</c:v>
                </c:pt>
                <c:pt idx="334">
                  <c:v>0.139817545678769</c:v>
                </c:pt>
                <c:pt idx="335">
                  <c:v>0.13180540479596162</c:v>
                </c:pt>
                <c:pt idx="336">
                  <c:v>0.13522000305701101</c:v>
                </c:pt>
                <c:pt idx="337">
                  <c:v>0.12720786217420299</c:v>
                </c:pt>
                <c:pt idx="338">
                  <c:v>0.12833327732587888</c:v>
                </c:pt>
                <c:pt idx="339">
                  <c:v>0.12032113644307035</c:v>
                </c:pt>
                <c:pt idx="340">
                  <c:v>0.12144655159474695</c:v>
                </c:pt>
                <c:pt idx="341">
                  <c:v>0.11343441071193799</c:v>
                </c:pt>
                <c:pt idx="342">
                  <c:v>0.11684900897298912</c:v>
                </c:pt>
                <c:pt idx="343">
                  <c:v>0.10883686809018002</c:v>
                </c:pt>
                <c:pt idx="344">
                  <c:v>0.10996228324185654</c:v>
                </c:pt>
                <c:pt idx="345">
                  <c:v>0.10195014235904798</c:v>
                </c:pt>
                <c:pt idx="346">
                  <c:v>0.10536474062009812</c:v>
                </c:pt>
                <c:pt idx="347">
                  <c:v>9.7352599737290227E-2</c:v>
                </c:pt>
                <c:pt idx="348">
                  <c:v>9.8478014888966486E-2</c:v>
                </c:pt>
                <c:pt idx="349">
                  <c:v>9.0465874006157895E-2</c:v>
                </c:pt>
                <c:pt idx="350">
                  <c:v>9.3880472267208526E-2</c:v>
                </c:pt>
                <c:pt idx="351">
                  <c:v>8.5868331384399768E-2</c:v>
                </c:pt>
                <c:pt idx="352">
                  <c:v>8.9282929645450024E-2</c:v>
                </c:pt>
                <c:pt idx="353">
                  <c:v>8.0126197207954497E-2</c:v>
                </c:pt>
                <c:pt idx="354">
                  <c:v>8.2396203914317984E-2</c:v>
                </c:pt>
                <c:pt idx="355">
                  <c:v>7.4384063031509504E-2</c:v>
                </c:pt>
                <c:pt idx="356">
                  <c:v>7.7798661292559898E-2</c:v>
                </c:pt>
                <c:pt idx="357">
                  <c:v>6.9786520409750932E-2</c:v>
                </c:pt>
                <c:pt idx="358">
                  <c:v>7.0911935561427594E-2</c:v>
                </c:pt>
                <c:pt idx="359">
                  <c:v>6.2899794678618934E-2</c:v>
                </c:pt>
                <c:pt idx="360">
                  <c:v>6.6314392939669412E-2</c:v>
                </c:pt>
                <c:pt idx="361">
                  <c:v>5.8302252056860814E-2</c:v>
                </c:pt>
                <c:pt idx="362">
                  <c:v>6.1716850317911527E-2</c:v>
                </c:pt>
                <c:pt idx="363">
                  <c:v>5.3704709435102624E-2</c:v>
                </c:pt>
                <c:pt idx="364">
                  <c:v>5.7119307696153095E-2</c:v>
                </c:pt>
                <c:pt idx="365">
                  <c:v>4.9107166813344434E-2</c:v>
                </c:pt>
                <c:pt idx="366">
                  <c:v>5.2521765074394676E-2</c:v>
                </c:pt>
                <c:pt idx="367">
                  <c:v>4.4509624191586369E-2</c:v>
                </c:pt>
                <c:pt idx="368">
                  <c:v>4.5635039343262497E-2</c:v>
                </c:pt>
                <c:pt idx="369">
                  <c:v>3.7622898460454177E-2</c:v>
                </c:pt>
                <c:pt idx="370">
                  <c:v>4.1037496721504314E-2</c:v>
                </c:pt>
                <c:pt idx="371">
                  <c:v>3.3025355838695897E-2</c:v>
                </c:pt>
                <c:pt idx="372">
                  <c:v>3.6439954099746201E-2</c:v>
                </c:pt>
                <c:pt idx="373">
                  <c:v>2.8427813216937499E-2</c:v>
                </c:pt>
                <c:pt idx="374">
                  <c:v>3.184241147798781E-2</c:v>
                </c:pt>
                <c:pt idx="375">
                  <c:v>2.3830270595179288E-2</c:v>
                </c:pt>
                <c:pt idx="376">
                  <c:v>2.7244868856229766E-2</c:v>
                </c:pt>
                <c:pt idx="377">
                  <c:v>1.9232727973421002E-2</c:v>
                </c:pt>
                <c:pt idx="378">
                  <c:v>2.2647326234471611E-2</c:v>
                </c:pt>
                <c:pt idx="379">
                  <c:v>1.4635185351662841E-2</c:v>
                </c:pt>
                <c:pt idx="380">
                  <c:v>1.8054577713465986E-2</c:v>
                </c:pt>
                <c:pt idx="381">
                  <c:v>1.1187028385344105E-2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C81A-4FFD-AC92-178FDFDFE607}"/>
            </c:ext>
          </c:extLst>
        </c:ser>
        <c:ser>
          <c:idx val="1"/>
          <c:order val="1"/>
          <c:tx>
            <c:v>M</c:v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xVal>
            <c:numRef>
              <c:f>'Visible Calculation'!$H$4:$H$501</c:f>
              <c:numCache>
                <c:formatCode>0</c:formatCode>
                <c:ptCount val="498"/>
                <c:pt idx="0">
                  <c:v>400.60451837016404</c:v>
                </c:pt>
                <c:pt idx="1">
                  <c:v>401.36749950494402</c:v>
                </c:pt>
                <c:pt idx="2">
                  <c:v>402.12652550659993</c:v>
                </c:pt>
                <c:pt idx="3">
                  <c:v>403.64853264303702</c:v>
                </c:pt>
                <c:pt idx="4">
                  <c:v>403.64637529769863</c:v>
                </c:pt>
                <c:pt idx="5">
                  <c:v>405.17018022191701</c:v>
                </c:pt>
                <c:pt idx="6">
                  <c:v>405.16802287657896</c:v>
                </c:pt>
                <c:pt idx="7">
                  <c:v>406.69038957057199</c:v>
                </c:pt>
                <c:pt idx="8">
                  <c:v>408.21203714945204</c:v>
                </c:pt>
                <c:pt idx="9">
                  <c:v>409.73296561321905</c:v>
                </c:pt>
                <c:pt idx="10">
                  <c:v>409.35111548827012</c:v>
                </c:pt>
                <c:pt idx="11">
                  <c:v>411.253894076986</c:v>
                </c:pt>
                <c:pt idx="12">
                  <c:v>412.77482254075431</c:v>
                </c:pt>
                <c:pt idx="13">
                  <c:v>414.29539144696258</c:v>
                </c:pt>
                <c:pt idx="14">
                  <c:v>415.81631991073169</c:v>
                </c:pt>
                <c:pt idx="15">
                  <c:v>416.57534591238863</c:v>
                </c:pt>
                <c:pt idx="16">
                  <c:v>418.09735304882435</c:v>
                </c:pt>
                <c:pt idx="17">
                  <c:v>419.618281512593</c:v>
                </c:pt>
                <c:pt idx="18">
                  <c:v>421.13920997636097</c:v>
                </c:pt>
                <c:pt idx="19">
                  <c:v>422.65977888257203</c:v>
                </c:pt>
                <c:pt idx="20">
                  <c:v>422.27792875762464</c:v>
                </c:pt>
                <c:pt idx="21">
                  <c:v>424.18070734633898</c:v>
                </c:pt>
                <c:pt idx="22">
                  <c:v>425.70235492521869</c:v>
                </c:pt>
                <c:pt idx="23">
                  <c:v>425.70019757987899</c:v>
                </c:pt>
                <c:pt idx="24">
                  <c:v>427.22400250409896</c:v>
                </c:pt>
                <c:pt idx="25">
                  <c:v>427.22148560120399</c:v>
                </c:pt>
                <c:pt idx="26">
                  <c:v>428.74421185275298</c:v>
                </c:pt>
                <c:pt idx="27">
                  <c:v>428.74205450741499</c:v>
                </c:pt>
                <c:pt idx="28">
                  <c:v>430.26514031652101</c:v>
                </c:pt>
                <c:pt idx="29">
                  <c:v>430.26298297118194</c:v>
                </c:pt>
                <c:pt idx="30">
                  <c:v>431.78606878028614</c:v>
                </c:pt>
                <c:pt idx="31">
                  <c:v>431.78391143494895</c:v>
                </c:pt>
                <c:pt idx="32">
                  <c:v>433.30699724405503</c:v>
                </c:pt>
                <c:pt idx="33">
                  <c:v>433.30448034116125</c:v>
                </c:pt>
                <c:pt idx="34">
                  <c:v>434.82792570782198</c:v>
                </c:pt>
                <c:pt idx="35">
                  <c:v>434.82576836248393</c:v>
                </c:pt>
                <c:pt idx="36">
                  <c:v>436.34813505647588</c:v>
                </c:pt>
                <c:pt idx="37">
                  <c:v>436.345977711138</c:v>
                </c:pt>
                <c:pt idx="38">
                  <c:v>437.86978263535963</c:v>
                </c:pt>
                <c:pt idx="39">
                  <c:v>437.86726573246278</c:v>
                </c:pt>
                <c:pt idx="40">
                  <c:v>439.38999198401098</c:v>
                </c:pt>
                <c:pt idx="41">
                  <c:v>439.38783463867293</c:v>
                </c:pt>
                <c:pt idx="42">
                  <c:v>440.91092044777758</c:v>
                </c:pt>
                <c:pt idx="43">
                  <c:v>440.90876310243999</c:v>
                </c:pt>
                <c:pt idx="44">
                  <c:v>442.43184891154493</c:v>
                </c:pt>
                <c:pt idx="45">
                  <c:v>442.42969156620694</c:v>
                </c:pt>
                <c:pt idx="46">
                  <c:v>443.95349649042601</c:v>
                </c:pt>
                <c:pt idx="47">
                  <c:v>443.95097958753064</c:v>
                </c:pt>
                <c:pt idx="48">
                  <c:v>445.47370583908003</c:v>
                </c:pt>
                <c:pt idx="49">
                  <c:v>445.47154849374198</c:v>
                </c:pt>
                <c:pt idx="50">
                  <c:v>446.99535341795917</c:v>
                </c:pt>
                <c:pt idx="51">
                  <c:v>446.99319607261992</c:v>
                </c:pt>
                <c:pt idx="52">
                  <c:v>448.51628188172901</c:v>
                </c:pt>
                <c:pt idx="53">
                  <c:v>448.51412453638898</c:v>
                </c:pt>
                <c:pt idx="54">
                  <c:v>450.03721034549375</c:v>
                </c:pt>
                <c:pt idx="55">
                  <c:v>450.03505300015593</c:v>
                </c:pt>
                <c:pt idx="56">
                  <c:v>451.55885792437499</c:v>
                </c:pt>
                <c:pt idx="57">
                  <c:v>451.55634102147923</c:v>
                </c:pt>
                <c:pt idx="58">
                  <c:v>453.07906727302998</c:v>
                </c:pt>
                <c:pt idx="59">
                  <c:v>453.07690992768869</c:v>
                </c:pt>
                <c:pt idx="60">
                  <c:v>454.60071485191003</c:v>
                </c:pt>
                <c:pt idx="61">
                  <c:v>454.59855750656914</c:v>
                </c:pt>
                <c:pt idx="62">
                  <c:v>456.12164331567698</c:v>
                </c:pt>
                <c:pt idx="63">
                  <c:v>456.11948597033938</c:v>
                </c:pt>
                <c:pt idx="64">
                  <c:v>457.64257177944432</c:v>
                </c:pt>
                <c:pt idx="65">
                  <c:v>457.64041443410702</c:v>
                </c:pt>
                <c:pt idx="66">
                  <c:v>459.16421935832398</c:v>
                </c:pt>
                <c:pt idx="67">
                  <c:v>459.16206201298598</c:v>
                </c:pt>
                <c:pt idx="68">
                  <c:v>460.68586693720499</c:v>
                </c:pt>
                <c:pt idx="69">
                  <c:v>460.68370959186598</c:v>
                </c:pt>
                <c:pt idx="70">
                  <c:v>462.20607628585896</c:v>
                </c:pt>
                <c:pt idx="71">
                  <c:v>462.20391894051784</c:v>
                </c:pt>
                <c:pt idx="72">
                  <c:v>463.727723864739</c:v>
                </c:pt>
                <c:pt idx="73">
                  <c:v>463.72556651939999</c:v>
                </c:pt>
                <c:pt idx="74">
                  <c:v>465.24937144361894</c:v>
                </c:pt>
                <c:pt idx="75">
                  <c:v>465.2472140982785</c:v>
                </c:pt>
                <c:pt idx="76">
                  <c:v>466.77101902249734</c:v>
                </c:pt>
                <c:pt idx="77">
                  <c:v>466.76886167716202</c:v>
                </c:pt>
                <c:pt idx="78">
                  <c:v>468.29266660137898</c:v>
                </c:pt>
                <c:pt idx="79">
                  <c:v>468.29050925603934</c:v>
                </c:pt>
                <c:pt idx="80">
                  <c:v>469.81287595003403</c:v>
                </c:pt>
                <c:pt idx="81">
                  <c:v>470.57154239413501</c:v>
                </c:pt>
                <c:pt idx="82">
                  <c:v>471.33452352891396</c:v>
                </c:pt>
                <c:pt idx="83">
                  <c:v>472.09318997301381</c:v>
                </c:pt>
                <c:pt idx="84">
                  <c:v>472.85617110779395</c:v>
                </c:pt>
                <c:pt idx="85">
                  <c:v>473.61483755189602</c:v>
                </c:pt>
                <c:pt idx="86">
                  <c:v>474.37781868667395</c:v>
                </c:pt>
                <c:pt idx="87">
                  <c:v>475.1364851307772</c:v>
                </c:pt>
                <c:pt idx="88">
                  <c:v>475.899466265554</c:v>
                </c:pt>
                <c:pt idx="89">
                  <c:v>476.658132709656</c:v>
                </c:pt>
                <c:pt idx="90">
                  <c:v>477.54815751437894</c:v>
                </c:pt>
                <c:pt idx="91">
                  <c:v>478.94419965354098</c:v>
                </c:pt>
                <c:pt idx="92">
                  <c:v>478.94204230820196</c:v>
                </c:pt>
                <c:pt idx="93">
                  <c:v>480.46584723242108</c:v>
                </c:pt>
                <c:pt idx="94">
                  <c:v>480.46368988708196</c:v>
                </c:pt>
                <c:pt idx="95">
                  <c:v>481.98749481130102</c:v>
                </c:pt>
                <c:pt idx="96">
                  <c:v>481.98533746596058</c:v>
                </c:pt>
                <c:pt idx="97">
                  <c:v>483.63618606012375</c:v>
                </c:pt>
                <c:pt idx="98">
                  <c:v>485.03222819928698</c:v>
                </c:pt>
                <c:pt idx="99">
                  <c:v>485.03007085394802</c:v>
                </c:pt>
                <c:pt idx="100">
                  <c:v>486.68091944810863</c:v>
                </c:pt>
                <c:pt idx="101">
                  <c:v>486.17130653810699</c:v>
                </c:pt>
                <c:pt idx="102">
                  <c:v>488.2037655521782</c:v>
                </c:pt>
                <c:pt idx="103">
                  <c:v>487.69439234721369</c:v>
                </c:pt>
                <c:pt idx="104">
                  <c:v>489.60004739637901</c:v>
                </c:pt>
                <c:pt idx="105">
                  <c:v>489.59789005104</c:v>
                </c:pt>
                <c:pt idx="106">
                  <c:v>491.12313320548338</c:v>
                </c:pt>
                <c:pt idx="107">
                  <c:v>491.12061630258899</c:v>
                </c:pt>
                <c:pt idx="108">
                  <c:v>492.77182445430896</c:v>
                </c:pt>
                <c:pt idx="109">
                  <c:v>492.26221154430601</c:v>
                </c:pt>
                <c:pt idx="110">
                  <c:v>494.29491026341469</c:v>
                </c:pt>
                <c:pt idx="111">
                  <c:v>493.78529735341198</c:v>
                </c:pt>
                <c:pt idx="112">
                  <c:v>495.69239063280298</c:v>
                </c:pt>
                <c:pt idx="113">
                  <c:v>495.68987372990813</c:v>
                </c:pt>
                <c:pt idx="114">
                  <c:v>497.21547644190758</c:v>
                </c:pt>
                <c:pt idx="115">
                  <c:v>497.21295953901301</c:v>
                </c:pt>
                <c:pt idx="116">
                  <c:v>498.86536621592097</c:v>
                </c:pt>
                <c:pt idx="117">
                  <c:v>498.35527389584445</c:v>
                </c:pt>
                <c:pt idx="118">
                  <c:v>500.38845202502705</c:v>
                </c:pt>
                <c:pt idx="119">
                  <c:v>499.87907882006232</c:v>
                </c:pt>
                <c:pt idx="120">
                  <c:v>501.91153783413199</c:v>
                </c:pt>
                <c:pt idx="121">
                  <c:v>501.40216462916902</c:v>
                </c:pt>
                <c:pt idx="122">
                  <c:v>503.30925790855764</c:v>
                </c:pt>
                <c:pt idx="123">
                  <c:v>503.30674100566301</c:v>
                </c:pt>
                <c:pt idx="124">
                  <c:v>504.83162460255102</c:v>
                </c:pt>
                <c:pt idx="125">
                  <c:v>506.356867756996</c:v>
                </c:pt>
                <c:pt idx="126">
                  <c:v>506.35471041165698</c:v>
                </c:pt>
                <c:pt idx="127">
                  <c:v>508.00675753100694</c:v>
                </c:pt>
                <c:pt idx="128">
                  <c:v>507.49666521092894</c:v>
                </c:pt>
                <c:pt idx="129">
                  <c:v>509.53128157034001</c:v>
                </c:pt>
                <c:pt idx="130">
                  <c:v>509.02118925026076</c:v>
                </c:pt>
                <c:pt idx="131">
                  <c:v>510.92900164476498</c:v>
                </c:pt>
                <c:pt idx="132">
                  <c:v>510.92612518431264</c:v>
                </c:pt>
                <c:pt idx="133">
                  <c:v>512.57889141877854</c:v>
                </c:pt>
                <c:pt idx="134">
                  <c:v>512.06879909869895</c:v>
                </c:pt>
                <c:pt idx="135">
                  <c:v>514.10341545811139</c:v>
                </c:pt>
                <c:pt idx="136">
                  <c:v>513.59332313803304</c:v>
                </c:pt>
                <c:pt idx="137">
                  <c:v>515.62793949744048</c:v>
                </c:pt>
                <c:pt idx="138">
                  <c:v>515.11784717736305</c:v>
                </c:pt>
                <c:pt idx="139">
                  <c:v>517.1524635367731</c:v>
                </c:pt>
                <c:pt idx="140">
                  <c:v>517.02242355385795</c:v>
                </c:pt>
                <c:pt idx="141">
                  <c:v>518.67698757611004</c:v>
                </c:pt>
                <c:pt idx="142">
                  <c:v>518.54694759319</c:v>
                </c:pt>
                <c:pt idx="143">
                  <c:v>518.16473791069063</c:v>
                </c:pt>
                <c:pt idx="144">
                  <c:v>520.20151161543549</c:v>
                </c:pt>
                <c:pt idx="145">
                  <c:v>520.07147163252353</c:v>
                </c:pt>
                <c:pt idx="146">
                  <c:v>519.68926195001904</c:v>
                </c:pt>
                <c:pt idx="147">
                  <c:v>521.59779345963852</c:v>
                </c:pt>
                <c:pt idx="148">
                  <c:v>521.59527655674322</c:v>
                </c:pt>
                <c:pt idx="149">
                  <c:v>522.48829767443397</c:v>
                </c:pt>
                <c:pt idx="150">
                  <c:v>523.11944103851852</c:v>
                </c:pt>
                <c:pt idx="151">
                  <c:v>524.01282171376374</c:v>
                </c:pt>
                <c:pt idx="152">
                  <c:v>523.88278173085155</c:v>
                </c:pt>
                <c:pt idx="153">
                  <c:v>525.53734575309704</c:v>
                </c:pt>
                <c:pt idx="154">
                  <c:v>525.40730577018303</c:v>
                </c:pt>
                <c:pt idx="155">
                  <c:v>525.02509608768003</c:v>
                </c:pt>
                <c:pt idx="156">
                  <c:v>527.06186979242511</c:v>
                </c:pt>
                <c:pt idx="157">
                  <c:v>526.93182980951246</c:v>
                </c:pt>
                <c:pt idx="158">
                  <c:v>526.54962012701196</c:v>
                </c:pt>
                <c:pt idx="159">
                  <c:v>528.58639383176103</c:v>
                </c:pt>
                <c:pt idx="160">
                  <c:v>528.45635384884599</c:v>
                </c:pt>
                <c:pt idx="161">
                  <c:v>528.07414416634674</c:v>
                </c:pt>
                <c:pt idx="162">
                  <c:v>530.11091787109308</c:v>
                </c:pt>
                <c:pt idx="163">
                  <c:v>529.98087788817804</c:v>
                </c:pt>
                <c:pt idx="164">
                  <c:v>529.59866820567595</c:v>
                </c:pt>
                <c:pt idx="165">
                  <c:v>531.63544191042399</c:v>
                </c:pt>
                <c:pt idx="166">
                  <c:v>531.12534959034804</c:v>
                </c:pt>
                <c:pt idx="167">
                  <c:v>531.12319224500754</c:v>
                </c:pt>
                <c:pt idx="168">
                  <c:v>533.16140417998201</c:v>
                </c:pt>
                <c:pt idx="169">
                  <c:v>533.03136419706698</c:v>
                </c:pt>
                <c:pt idx="170">
                  <c:v>532.649154514565</c:v>
                </c:pt>
                <c:pt idx="171">
                  <c:v>534.68592821931304</c:v>
                </c:pt>
                <c:pt idx="172">
                  <c:v>534.55588823640005</c:v>
                </c:pt>
                <c:pt idx="173">
                  <c:v>534.17367855390012</c:v>
                </c:pt>
                <c:pt idx="174">
                  <c:v>536.21045225864896</c:v>
                </c:pt>
                <c:pt idx="175">
                  <c:v>536.08041227573005</c:v>
                </c:pt>
                <c:pt idx="176">
                  <c:v>535.69820259322807</c:v>
                </c:pt>
                <c:pt idx="177">
                  <c:v>537.736414528203</c:v>
                </c:pt>
                <c:pt idx="178">
                  <c:v>537.60637454528853</c:v>
                </c:pt>
                <c:pt idx="179">
                  <c:v>537.22416486278598</c:v>
                </c:pt>
                <c:pt idx="180">
                  <c:v>539.26093856753687</c:v>
                </c:pt>
                <c:pt idx="181">
                  <c:v>539.13089858462001</c:v>
                </c:pt>
                <c:pt idx="182">
                  <c:v>538.74868890211803</c:v>
                </c:pt>
                <c:pt idx="183">
                  <c:v>540.78690083709353</c:v>
                </c:pt>
                <c:pt idx="184">
                  <c:v>540.65686085417701</c:v>
                </c:pt>
                <c:pt idx="185">
                  <c:v>540.27465117167822</c:v>
                </c:pt>
                <c:pt idx="186">
                  <c:v>542.18462091151753</c:v>
                </c:pt>
                <c:pt idx="187">
                  <c:v>542.18174445106774</c:v>
                </c:pt>
                <c:pt idx="188">
                  <c:v>541.79917521100981</c:v>
                </c:pt>
                <c:pt idx="189">
                  <c:v>543.07512512631502</c:v>
                </c:pt>
                <c:pt idx="190">
                  <c:v>543.70626849039638</c:v>
                </c:pt>
                <c:pt idx="191">
                  <c:v>544.47284520074004</c:v>
                </c:pt>
                <c:pt idx="192">
                  <c:v>544.46996874028798</c:v>
                </c:pt>
                <c:pt idx="193">
                  <c:v>545.36334941553798</c:v>
                </c:pt>
                <c:pt idx="194">
                  <c:v>545.99449277962322</c:v>
                </c:pt>
                <c:pt idx="195">
                  <c:v>546.76106948996107</c:v>
                </c:pt>
                <c:pt idx="196">
                  <c:v>546.75819302951254</c:v>
                </c:pt>
                <c:pt idx="197">
                  <c:v>547.65157370476197</c:v>
                </c:pt>
                <c:pt idx="198">
                  <c:v>547.90158605901104</c:v>
                </c:pt>
                <c:pt idx="199">
                  <c:v>549.17753597431954</c:v>
                </c:pt>
                <c:pt idx="200">
                  <c:v>549.04749599140246</c:v>
                </c:pt>
                <c:pt idx="201">
                  <c:v>548.66456719378675</c:v>
                </c:pt>
                <c:pt idx="202">
                  <c:v>550.575256048744</c:v>
                </c:pt>
                <c:pt idx="203">
                  <c:v>550.57273914584903</c:v>
                </c:pt>
                <c:pt idx="204">
                  <c:v>550.18981034823673</c:v>
                </c:pt>
                <c:pt idx="205">
                  <c:v>551.46576026354307</c:v>
                </c:pt>
                <c:pt idx="206">
                  <c:v>551.71577261779589</c:v>
                </c:pt>
                <c:pt idx="207">
                  <c:v>552.99172253310053</c:v>
                </c:pt>
                <c:pt idx="208">
                  <c:v>552.86168255018595</c:v>
                </c:pt>
                <c:pt idx="209">
                  <c:v>552.47947286768681</c:v>
                </c:pt>
                <c:pt idx="210">
                  <c:v>554.39088083775152</c:v>
                </c:pt>
                <c:pt idx="211">
                  <c:v>554.38800437730174</c:v>
                </c:pt>
                <c:pt idx="212">
                  <c:v>554.00543513724153</c:v>
                </c:pt>
                <c:pt idx="213">
                  <c:v>555.28138505255174</c:v>
                </c:pt>
                <c:pt idx="214">
                  <c:v>555.53139740679808</c:v>
                </c:pt>
                <c:pt idx="215">
                  <c:v>556.80734732210703</c:v>
                </c:pt>
                <c:pt idx="216">
                  <c:v>556.67730733919507</c:v>
                </c:pt>
                <c:pt idx="217">
                  <c:v>556.29437854158198</c:v>
                </c:pt>
                <c:pt idx="218">
                  <c:v>558.20650562675803</c:v>
                </c:pt>
                <c:pt idx="219">
                  <c:v>558.20362916630654</c:v>
                </c:pt>
                <c:pt idx="220">
                  <c:v>557.820340811135</c:v>
                </c:pt>
                <c:pt idx="221">
                  <c:v>559.09700984155597</c:v>
                </c:pt>
                <c:pt idx="222">
                  <c:v>559.34702219579935</c:v>
                </c:pt>
                <c:pt idx="223">
                  <c:v>560.49616814620697</c:v>
                </c:pt>
                <c:pt idx="224">
                  <c:v>560.49329168575446</c:v>
                </c:pt>
                <c:pt idx="225">
                  <c:v>560.11000333058405</c:v>
                </c:pt>
                <c:pt idx="226">
                  <c:v>561.38667236100503</c:v>
                </c:pt>
                <c:pt idx="227">
                  <c:v>561.63596560014105</c:v>
                </c:pt>
                <c:pt idx="228">
                  <c:v>562.91263463056293</c:v>
                </c:pt>
                <c:pt idx="229">
                  <c:v>562.78259464765074</c:v>
                </c:pt>
                <c:pt idx="230">
                  <c:v>562.39966585003299</c:v>
                </c:pt>
                <c:pt idx="231">
                  <c:v>564.43859690012005</c:v>
                </c:pt>
                <c:pt idx="232">
                  <c:v>564.30855691720603</c:v>
                </c:pt>
                <c:pt idx="233">
                  <c:v>563.92562811958749</c:v>
                </c:pt>
                <c:pt idx="234">
                  <c:v>565.83775520477047</c:v>
                </c:pt>
                <c:pt idx="235">
                  <c:v>565.83487874431898</c:v>
                </c:pt>
                <c:pt idx="236">
                  <c:v>565.4515903891479</c:v>
                </c:pt>
                <c:pt idx="237">
                  <c:v>567.49052143923439</c:v>
                </c:pt>
                <c:pt idx="238">
                  <c:v>567.36048145632105</c:v>
                </c:pt>
                <c:pt idx="239">
                  <c:v>566.97827177381805</c:v>
                </c:pt>
                <c:pt idx="240">
                  <c:v>568.88967974388595</c:v>
                </c:pt>
                <c:pt idx="241">
                  <c:v>568.88680328343298</c:v>
                </c:pt>
                <c:pt idx="242">
                  <c:v>568.50351492826303</c:v>
                </c:pt>
                <c:pt idx="243">
                  <c:v>569.78018395868889</c:v>
                </c:pt>
                <c:pt idx="244">
                  <c:v>570.03019631293296</c:v>
                </c:pt>
                <c:pt idx="245">
                  <c:v>571.30614622824203</c:v>
                </c:pt>
                <c:pt idx="246">
                  <c:v>571.17610624532801</c:v>
                </c:pt>
                <c:pt idx="247">
                  <c:v>570.79317744771481</c:v>
                </c:pt>
                <c:pt idx="248">
                  <c:v>572.70386630266853</c:v>
                </c:pt>
                <c:pt idx="249">
                  <c:v>572.70098984221499</c:v>
                </c:pt>
                <c:pt idx="250">
                  <c:v>572.31842060215695</c:v>
                </c:pt>
                <c:pt idx="251">
                  <c:v>573.59437051746932</c:v>
                </c:pt>
                <c:pt idx="252">
                  <c:v>573.84438287171349</c:v>
                </c:pt>
                <c:pt idx="253">
                  <c:v>575.12033278702302</c:v>
                </c:pt>
                <c:pt idx="254">
                  <c:v>574.98993324655589</c:v>
                </c:pt>
                <c:pt idx="255">
                  <c:v>574.60736400649307</c:v>
                </c:pt>
                <c:pt idx="256">
                  <c:v>576.64485682635495</c:v>
                </c:pt>
                <c:pt idx="257">
                  <c:v>576.51481684343946</c:v>
                </c:pt>
                <c:pt idx="258">
                  <c:v>576.13260716093748</c:v>
                </c:pt>
                <c:pt idx="259">
                  <c:v>578.17081909591138</c:v>
                </c:pt>
                <c:pt idx="260">
                  <c:v>578.04077911299703</c:v>
                </c:pt>
                <c:pt idx="261">
                  <c:v>577.65785031538201</c:v>
                </c:pt>
                <c:pt idx="262">
                  <c:v>579.695343135244</c:v>
                </c:pt>
                <c:pt idx="263">
                  <c:v>579.56530315232897</c:v>
                </c:pt>
                <c:pt idx="264">
                  <c:v>579.18309346983006</c:v>
                </c:pt>
                <c:pt idx="265">
                  <c:v>581.09306320967187</c:v>
                </c:pt>
                <c:pt idx="266">
                  <c:v>581.09054630677394</c:v>
                </c:pt>
                <c:pt idx="267">
                  <c:v>580.70761750915801</c:v>
                </c:pt>
                <c:pt idx="268">
                  <c:v>581.98356742446697</c:v>
                </c:pt>
                <c:pt idx="269">
                  <c:v>582.61471078854902</c:v>
                </c:pt>
                <c:pt idx="270">
                  <c:v>583.50809146379902</c:v>
                </c:pt>
                <c:pt idx="271">
                  <c:v>583.37805148088398</c:v>
                </c:pt>
                <c:pt idx="272">
                  <c:v>585.03261550313096</c:v>
                </c:pt>
                <c:pt idx="273">
                  <c:v>584.90257552021603</c:v>
                </c:pt>
                <c:pt idx="274">
                  <c:v>584.52036583771348</c:v>
                </c:pt>
                <c:pt idx="275">
                  <c:v>586.55713954246198</c:v>
                </c:pt>
                <c:pt idx="276">
                  <c:v>586.42709955954808</c:v>
                </c:pt>
                <c:pt idx="277">
                  <c:v>586.04488987704553</c:v>
                </c:pt>
                <c:pt idx="278">
                  <c:v>587.95342138666194</c:v>
                </c:pt>
                <c:pt idx="279">
                  <c:v>587.95090448376232</c:v>
                </c:pt>
                <c:pt idx="280">
                  <c:v>589.47686675332397</c:v>
                </c:pt>
                <c:pt idx="281">
                  <c:v>590.36701141056278</c:v>
                </c:pt>
                <c:pt idx="282">
                  <c:v>591.89009721967352</c:v>
                </c:pt>
                <c:pt idx="283">
                  <c:v>591.3800048995929</c:v>
                </c:pt>
                <c:pt idx="284">
                  <c:v>593.28781729409695</c:v>
                </c:pt>
                <c:pt idx="285">
                  <c:v>593.28530039120255</c:v>
                </c:pt>
                <c:pt idx="286">
                  <c:v>594.81090310320246</c:v>
                </c:pt>
                <c:pt idx="287">
                  <c:v>594.80838620030852</c:v>
                </c:pt>
                <c:pt idx="288">
                  <c:v>596.333988912309</c:v>
                </c:pt>
                <c:pt idx="289">
                  <c:v>596.33183156697055</c:v>
                </c:pt>
                <c:pt idx="290">
                  <c:v>597.85707472141246</c:v>
                </c:pt>
                <c:pt idx="291">
                  <c:v>597.85491737607595</c:v>
                </c:pt>
                <c:pt idx="292">
                  <c:v>599.50576597023905</c:v>
                </c:pt>
                <c:pt idx="293">
                  <c:v>598.996153060236</c:v>
                </c:pt>
                <c:pt idx="294">
                  <c:v>600.90180810940046</c:v>
                </c:pt>
                <c:pt idx="295">
                  <c:v>600.89965076406202</c:v>
                </c:pt>
                <c:pt idx="296">
                  <c:v>602.42345568828102</c:v>
                </c:pt>
                <c:pt idx="297">
                  <c:v>602.42129834293939</c:v>
                </c:pt>
                <c:pt idx="298">
                  <c:v>603.94510326716352</c:v>
                </c:pt>
                <c:pt idx="299">
                  <c:v>603.942945921822</c:v>
                </c:pt>
                <c:pt idx="300">
                  <c:v>605.46603173092797</c:v>
                </c:pt>
                <c:pt idx="301">
                  <c:v>605.46387438558838</c:v>
                </c:pt>
                <c:pt idx="302">
                  <c:v>606.98696019469446</c:v>
                </c:pt>
                <c:pt idx="303">
                  <c:v>606.98444329179995</c:v>
                </c:pt>
                <c:pt idx="304">
                  <c:v>608.50716954334996</c:v>
                </c:pt>
                <c:pt idx="305">
                  <c:v>608.50465264045499</c:v>
                </c:pt>
                <c:pt idx="306">
                  <c:v>610.02665977689105</c:v>
                </c:pt>
                <c:pt idx="307">
                  <c:v>610.02378331644263</c:v>
                </c:pt>
                <c:pt idx="308">
                  <c:v>611.5468691255428</c:v>
                </c:pt>
                <c:pt idx="309">
                  <c:v>611.54399266509404</c:v>
                </c:pt>
                <c:pt idx="310">
                  <c:v>612.42850425395204</c:v>
                </c:pt>
                <c:pt idx="311">
                  <c:v>613.06564024397346</c:v>
                </c:pt>
                <c:pt idx="312">
                  <c:v>613.94967242275698</c:v>
                </c:pt>
                <c:pt idx="313">
                  <c:v>613.81999199739801</c:v>
                </c:pt>
                <c:pt idx="314">
                  <c:v>615.34379692161804</c:v>
                </c:pt>
                <c:pt idx="315">
                  <c:v>615.34092046116598</c:v>
                </c:pt>
                <c:pt idx="316">
                  <c:v>615.33876311582696</c:v>
                </c:pt>
                <c:pt idx="317">
                  <c:v>616.86112980981579</c:v>
                </c:pt>
                <c:pt idx="318">
                  <c:v>616.85825334936806</c:v>
                </c:pt>
                <c:pt idx="319">
                  <c:v>616.85609600402688</c:v>
                </c:pt>
                <c:pt idx="320">
                  <c:v>618.00020814864104</c:v>
                </c:pt>
                <c:pt idx="321">
                  <c:v>618.37774358290949</c:v>
                </c:pt>
                <c:pt idx="322">
                  <c:v>618.37486712245789</c:v>
                </c:pt>
                <c:pt idx="323">
                  <c:v>619.13281445144696</c:v>
                </c:pt>
                <c:pt idx="324">
                  <c:v>619.89579558622495</c:v>
                </c:pt>
                <c:pt idx="325">
                  <c:v>620.01756574534147</c:v>
                </c:pt>
                <c:pt idx="326">
                  <c:v>621.03343569482104</c:v>
                </c:pt>
                <c:pt idx="327">
                  <c:v>621.41097112908994</c:v>
                </c:pt>
                <c:pt idx="328">
                  <c:v>621.40809466864062</c:v>
                </c:pt>
                <c:pt idx="329">
                  <c:v>621.40557776574292</c:v>
                </c:pt>
                <c:pt idx="330">
                  <c:v>622.16352509472779</c:v>
                </c:pt>
                <c:pt idx="331">
                  <c:v>622.54933035279805</c:v>
                </c:pt>
                <c:pt idx="332">
                  <c:v>622.92686578706696</c:v>
                </c:pt>
                <c:pt idx="333">
                  <c:v>622.92147242371948</c:v>
                </c:pt>
                <c:pt idx="334">
                  <c:v>623.68481311605774</c:v>
                </c:pt>
                <c:pt idx="335">
                  <c:v>623.6794197527081</c:v>
                </c:pt>
                <c:pt idx="336">
                  <c:v>624.44276044504238</c:v>
                </c:pt>
                <c:pt idx="337">
                  <c:v>624.43736708169649</c:v>
                </c:pt>
                <c:pt idx="338">
                  <c:v>625.20070777403305</c:v>
                </c:pt>
                <c:pt idx="339">
                  <c:v>625.19531441068762</c:v>
                </c:pt>
                <c:pt idx="340">
                  <c:v>625.95865510301815</c:v>
                </c:pt>
                <c:pt idx="341">
                  <c:v>626.71660243200847</c:v>
                </c:pt>
                <c:pt idx="342">
                  <c:v>626.71372597156073</c:v>
                </c:pt>
                <c:pt idx="343">
                  <c:v>626.71120906866304</c:v>
                </c:pt>
                <c:pt idx="344">
                  <c:v>627.46915639765098</c:v>
                </c:pt>
                <c:pt idx="345">
                  <c:v>627.85496165571749</c:v>
                </c:pt>
                <c:pt idx="346">
                  <c:v>628.23249708998549</c:v>
                </c:pt>
                <c:pt idx="347">
                  <c:v>628.22710372663903</c:v>
                </c:pt>
                <c:pt idx="348">
                  <c:v>628.99044441897502</c:v>
                </c:pt>
                <c:pt idx="349">
                  <c:v>628.98505105562811</c:v>
                </c:pt>
                <c:pt idx="350">
                  <c:v>629.74839174796352</c:v>
                </c:pt>
                <c:pt idx="351">
                  <c:v>629.74263882705998</c:v>
                </c:pt>
                <c:pt idx="352">
                  <c:v>630.50561996183899</c:v>
                </c:pt>
                <c:pt idx="353">
                  <c:v>630.62739012095506</c:v>
                </c:pt>
                <c:pt idx="354">
                  <c:v>630.11801691598998</c:v>
                </c:pt>
                <c:pt idx="355">
                  <c:v>631.38389921971805</c:v>
                </c:pt>
                <c:pt idx="356">
                  <c:v>630.87452601475297</c:v>
                </c:pt>
                <c:pt idx="357">
                  <c:v>631.64182184020797</c:v>
                </c:pt>
                <c:pt idx="358">
                  <c:v>632.14040831848104</c:v>
                </c:pt>
                <c:pt idx="359">
                  <c:v>631.63103511351449</c:v>
                </c:pt>
                <c:pt idx="360">
                  <c:v>632.39833093897414</c:v>
                </c:pt>
                <c:pt idx="361">
                  <c:v>632.89691741724289</c:v>
                </c:pt>
                <c:pt idx="362">
                  <c:v>632.38754421227793</c:v>
                </c:pt>
                <c:pt idx="363">
                  <c:v>633.15484003773395</c:v>
                </c:pt>
                <c:pt idx="364">
                  <c:v>633.65342651600804</c:v>
                </c:pt>
                <c:pt idx="365">
                  <c:v>633.14405331104103</c:v>
                </c:pt>
                <c:pt idx="366">
                  <c:v>633.91134913649705</c:v>
                </c:pt>
                <c:pt idx="367">
                  <c:v>634.40993561476898</c:v>
                </c:pt>
                <c:pt idx="368">
                  <c:v>633.90056240980289</c:v>
                </c:pt>
                <c:pt idx="369">
                  <c:v>634.66785823525788</c:v>
                </c:pt>
                <c:pt idx="370">
                  <c:v>635.16644471353197</c:v>
                </c:pt>
                <c:pt idx="371">
                  <c:v>634.65707150856804</c:v>
                </c:pt>
                <c:pt idx="372">
                  <c:v>635.42436733402201</c:v>
                </c:pt>
                <c:pt idx="373">
                  <c:v>635.79614984738805</c:v>
                </c:pt>
                <c:pt idx="374">
                  <c:v>635.79363294449354</c:v>
                </c:pt>
                <c:pt idx="375">
                  <c:v>636.18231466301154</c:v>
                </c:pt>
                <c:pt idx="376">
                  <c:v>636.55913098216604</c:v>
                </c:pt>
                <c:pt idx="377">
                  <c:v>636.67802468083153</c:v>
                </c:pt>
                <c:pt idx="378">
                  <c:v>637.31564008092607</c:v>
                </c:pt>
                <c:pt idx="379">
                  <c:v>637.30880848735603</c:v>
                </c:pt>
                <c:pt idx="380">
                  <c:v>638.07214917969304</c:v>
                </c:pt>
                <c:pt idx="381">
                  <c:v>638.19391933880854</c:v>
                </c:pt>
                <c:pt idx="382">
                  <c:v>637.68454613384301</c:v>
                </c:pt>
                <c:pt idx="383">
                  <c:v>638.95042843757096</c:v>
                </c:pt>
                <c:pt idx="384">
                  <c:v>638.44105523260498</c:v>
                </c:pt>
                <c:pt idx="385">
                  <c:v>639.20835105806475</c:v>
                </c:pt>
                <c:pt idx="386">
                  <c:v>639.70693753633782</c:v>
                </c:pt>
                <c:pt idx="387">
                  <c:v>639.19756433136808</c:v>
                </c:pt>
                <c:pt idx="388">
                  <c:v>639.96486015682399</c:v>
                </c:pt>
                <c:pt idx="389">
                  <c:v>640.46344663509603</c:v>
                </c:pt>
                <c:pt idx="390">
                  <c:v>639.95407343013153</c:v>
                </c:pt>
                <c:pt idx="391">
                  <c:v>640.72136925558755</c:v>
                </c:pt>
                <c:pt idx="392">
                  <c:v>641.21995573385902</c:v>
                </c:pt>
                <c:pt idx="393">
                  <c:v>640.71058252889782</c:v>
                </c:pt>
                <c:pt idx="394">
                  <c:v>641.47787835435054</c:v>
                </c:pt>
                <c:pt idx="395">
                  <c:v>641.97646483262201</c:v>
                </c:pt>
                <c:pt idx="396">
                  <c:v>641.46709162765603</c:v>
                </c:pt>
                <c:pt idx="397">
                  <c:v>642.23438745311353</c:v>
                </c:pt>
                <c:pt idx="398">
                  <c:v>642.60616996647809</c:v>
                </c:pt>
                <c:pt idx="399">
                  <c:v>642.60365306358301</c:v>
                </c:pt>
                <c:pt idx="400">
                  <c:v>642.99233478210101</c:v>
                </c:pt>
                <c:pt idx="401">
                  <c:v>643.36915110125426</c:v>
                </c:pt>
                <c:pt idx="402">
                  <c:v>643.488044799921</c:v>
                </c:pt>
                <c:pt idx="403">
                  <c:v>644.12566020001896</c:v>
                </c:pt>
                <c:pt idx="404">
                  <c:v>644.24455389868399</c:v>
                </c:pt>
                <c:pt idx="405">
                  <c:v>644.88216929878149</c:v>
                </c:pt>
                <c:pt idx="406">
                  <c:v>645.00106299744698</c:v>
                </c:pt>
                <c:pt idx="407">
                  <c:v>645.63867839754505</c:v>
                </c:pt>
                <c:pt idx="408">
                  <c:v>645.75757209620997</c:v>
                </c:pt>
                <c:pt idx="409">
                  <c:v>646.39518749630702</c:v>
                </c:pt>
                <c:pt idx="410">
                  <c:v>646.51408119497148</c:v>
                </c:pt>
                <c:pt idx="411">
                  <c:v>647.15169659506796</c:v>
                </c:pt>
                <c:pt idx="412">
                  <c:v>647.27059029373504</c:v>
                </c:pt>
                <c:pt idx="413">
                  <c:v>647.90820569383288</c:v>
                </c:pt>
                <c:pt idx="414">
                  <c:v>648.02709939249746</c:v>
                </c:pt>
                <c:pt idx="415">
                  <c:v>648.66471479259599</c:v>
                </c:pt>
                <c:pt idx="416">
                  <c:v>648.78360849126</c:v>
                </c:pt>
                <c:pt idx="417">
                  <c:v>649.42122389135397</c:v>
                </c:pt>
                <c:pt idx="418">
                  <c:v>649.54011759002299</c:v>
                </c:pt>
                <c:pt idx="419">
                  <c:v>650.1777329901239</c:v>
                </c:pt>
                <c:pt idx="420">
                  <c:v>650.29662668878598</c:v>
                </c:pt>
                <c:pt idx="421">
                  <c:v>650.93424208888348</c:v>
                </c:pt>
                <c:pt idx="422">
                  <c:v>650.9274104953073</c:v>
                </c:pt>
                <c:pt idx="423">
                  <c:v>651.69075118764852</c:v>
                </c:pt>
                <c:pt idx="424">
                  <c:v>651.81252134676299</c:v>
                </c:pt>
                <c:pt idx="425">
                  <c:v>651.30314814179701</c:v>
                </c:pt>
                <c:pt idx="426">
                  <c:v>652.56903044552598</c:v>
                </c:pt>
                <c:pt idx="427">
                  <c:v>652.05965724056</c:v>
                </c:pt>
                <c:pt idx="428">
                  <c:v>652.82695306601602</c:v>
                </c:pt>
                <c:pt idx="429">
                  <c:v>653.19873557938888</c:v>
                </c:pt>
                <c:pt idx="430">
                  <c:v>653.58490039500498</c:v>
                </c:pt>
                <c:pt idx="431">
                  <c:v>653.96171671415948</c:v>
                </c:pt>
                <c:pt idx="432">
                  <c:v>654.08348687327805</c:v>
                </c:pt>
                <c:pt idx="433">
                  <c:v>653.57411366831354</c:v>
                </c:pt>
                <c:pt idx="434">
                  <c:v>654.83999597204001</c:v>
                </c:pt>
                <c:pt idx="435">
                  <c:v>655.09791859252948</c:v>
                </c:pt>
                <c:pt idx="436">
                  <c:v>655.46970110589598</c:v>
                </c:pt>
                <c:pt idx="437">
                  <c:v>655.85586592151799</c:v>
                </c:pt>
                <c:pt idx="438">
                  <c:v>656.23268224067454</c:v>
                </c:pt>
                <c:pt idx="439">
                  <c:v>656.35445239979049</c:v>
                </c:pt>
                <c:pt idx="440">
                  <c:v>656.98415753364804</c:v>
                </c:pt>
                <c:pt idx="441">
                  <c:v>657.37032234927005</c:v>
                </c:pt>
                <c:pt idx="442">
                  <c:v>657.74713866842603</c:v>
                </c:pt>
                <c:pt idx="443">
                  <c:v>657.86890882754199</c:v>
                </c:pt>
                <c:pt idx="444">
                  <c:v>658.49897351895675</c:v>
                </c:pt>
                <c:pt idx="445">
                  <c:v>658.88477877702462</c:v>
                </c:pt>
                <c:pt idx="446">
                  <c:v>659.26231421129</c:v>
                </c:pt>
                <c:pt idx="447">
                  <c:v>659.25656129038703</c:v>
                </c:pt>
                <c:pt idx="448">
                  <c:v>660.01954242516501</c:v>
                </c:pt>
                <c:pt idx="449">
                  <c:v>660.14131258428199</c:v>
                </c:pt>
                <c:pt idx="450">
                  <c:v>660.77137727569925</c:v>
                </c:pt>
                <c:pt idx="451">
                  <c:v>661.15718253376099</c:v>
                </c:pt>
                <c:pt idx="452">
                  <c:v>661.53471796802955</c:v>
                </c:pt>
                <c:pt idx="453">
                  <c:v>661.5293246046831</c:v>
                </c:pt>
                <c:pt idx="454">
                  <c:v>662.29266529701795</c:v>
                </c:pt>
                <c:pt idx="455">
                  <c:v>662.28691237611895</c:v>
                </c:pt>
                <c:pt idx="456">
                  <c:v>663.04989351089455</c:v>
                </c:pt>
                <c:pt idx="457">
                  <c:v>663.17166367001005</c:v>
                </c:pt>
                <c:pt idx="458">
                  <c:v>663.80172836142197</c:v>
                </c:pt>
                <c:pt idx="459">
                  <c:v>664.18753361948905</c:v>
                </c:pt>
                <c:pt idx="460">
                  <c:v>664.56506905375738</c:v>
                </c:pt>
                <c:pt idx="461">
                  <c:v>664.55967569041047</c:v>
                </c:pt>
                <c:pt idx="462">
                  <c:v>665.32301638274328</c:v>
                </c:pt>
                <c:pt idx="463">
                  <c:v>665.31762301939796</c:v>
                </c:pt>
                <c:pt idx="464">
                  <c:v>666.08024459662352</c:v>
                </c:pt>
                <c:pt idx="465">
                  <c:v>666.20201475573799</c:v>
                </c:pt>
                <c:pt idx="466">
                  <c:v>666.45202710998296</c:v>
                </c:pt>
                <c:pt idx="467">
                  <c:v>668.34797410512749</c:v>
                </c:pt>
                <c:pt idx="468">
                  <c:v>669.105921434116</c:v>
                </c:pt>
                <c:pt idx="469">
                  <c:v>669.86926212644767</c:v>
                </c:pt>
                <c:pt idx="470">
                  <c:v>669.86386876310496</c:v>
                </c:pt>
                <c:pt idx="471">
                  <c:v>670.62720945543674</c:v>
                </c:pt>
                <c:pt idx="472">
                  <c:v>670.6218160920929</c:v>
                </c:pt>
                <c:pt idx="473">
                  <c:v>671.38515678442457</c:v>
                </c:pt>
                <c:pt idx="474">
                  <c:v>672.14310411341648</c:v>
                </c:pt>
                <c:pt idx="475">
                  <c:v>672.14022765296249</c:v>
                </c:pt>
                <c:pt idx="476">
                  <c:v>673.02545835693604</c:v>
                </c:pt>
                <c:pt idx="477">
                  <c:v>673.28290156735511</c:v>
                </c:pt>
                <c:pt idx="478">
                  <c:v>674.42054167594699</c:v>
                </c:pt>
                <c:pt idx="479">
                  <c:v>674.41766521549175</c:v>
                </c:pt>
                <c:pt idx="480">
                  <c:v>675.30217680435248</c:v>
                </c:pt>
                <c:pt idx="481">
                  <c:v>675.93931279437538</c:v>
                </c:pt>
                <c:pt idx="482">
                  <c:v>676.82334497316049</c:v>
                </c:pt>
                <c:pt idx="483">
                  <c:v>676.69366454780175</c:v>
                </c:pt>
                <c:pt idx="484">
                  <c:v>678.21746947201791</c:v>
                </c:pt>
                <c:pt idx="485">
                  <c:v>678.21459301156801</c:v>
                </c:pt>
                <c:pt idx="486">
                  <c:v>677.83274288662096</c:v>
                </c:pt>
                <c:pt idx="487">
                  <c:v>679.73624059044698</c:v>
                </c:pt>
                <c:pt idx="488">
                  <c:v>679.73336412999504</c:v>
                </c:pt>
                <c:pt idx="489">
                  <c:v>679.35151400504594</c:v>
                </c:pt>
                <c:pt idx="490">
                  <c:v>681.25501170887605</c:v>
                </c:pt>
                <c:pt idx="491">
                  <c:v>681.252135248424</c:v>
                </c:pt>
                <c:pt idx="492">
                  <c:v>682.77378282730865</c:v>
                </c:pt>
                <c:pt idx="493">
                  <c:v>682.77090636685705</c:v>
                </c:pt>
                <c:pt idx="494">
                  <c:v>684.29255394573295</c:v>
                </c:pt>
                <c:pt idx="495">
                  <c:v>684.29003704283855</c:v>
                </c:pt>
                <c:pt idx="496">
                  <c:v>685.43307051478052</c:v>
                </c:pt>
                <c:pt idx="497">
                  <c:v>685.43091316944106</c:v>
                </c:pt>
              </c:numCache>
            </c:numRef>
          </c:xVal>
          <c:yVal>
            <c:numRef>
              <c:f>'Visible Calculation'!$I$4:$I$501</c:f>
              <c:numCache>
                <c:formatCode>0</c:formatCode>
                <c:ptCount val="498"/>
                <c:pt idx="0">
                  <c:v>0.36587377846684788</c:v>
                </c:pt>
                <c:pt idx="1">
                  <c:v>0.37273173959346301</c:v>
                </c:pt>
                <c:pt idx="2">
                  <c:v>0.36699919361852301</c:v>
                </c:pt>
                <c:pt idx="3">
                  <c:v>0.36812460877019898</c:v>
                </c:pt>
                <c:pt idx="4">
                  <c:v>0.36125705944207775</c:v>
                </c:pt>
                <c:pt idx="5">
                  <c:v>0.36810543236718901</c:v>
                </c:pt>
                <c:pt idx="6">
                  <c:v>0.36123788303906817</c:v>
                </c:pt>
                <c:pt idx="7">
                  <c:v>0.36350788974543241</c:v>
                </c:pt>
                <c:pt idx="8">
                  <c:v>0.36348871334242316</c:v>
                </c:pt>
                <c:pt idx="9">
                  <c:v>0.36118035383003638</c:v>
                </c:pt>
                <c:pt idx="10">
                  <c:v>0.35660678171204341</c:v>
                </c:pt>
                <c:pt idx="11">
                  <c:v>0.3588719943176541</c:v>
                </c:pt>
                <c:pt idx="12">
                  <c:v>0.35656363480526698</c:v>
                </c:pt>
                <c:pt idx="13">
                  <c:v>0.35311068373819632</c:v>
                </c:pt>
                <c:pt idx="14">
                  <c:v>0.35080232422581253</c:v>
                </c:pt>
                <c:pt idx="15">
                  <c:v>0.34506977825087287</c:v>
                </c:pt>
                <c:pt idx="16">
                  <c:v>0.34619519340254801</c:v>
                </c:pt>
                <c:pt idx="17">
                  <c:v>0.34388683389016611</c:v>
                </c:pt>
                <c:pt idx="18">
                  <c:v>0.34157847437778094</c:v>
                </c:pt>
                <c:pt idx="19">
                  <c:v>0.33812552331071011</c:v>
                </c:pt>
                <c:pt idx="20">
                  <c:v>0.33355195119271447</c:v>
                </c:pt>
                <c:pt idx="21">
                  <c:v>0.33581716379832593</c:v>
                </c:pt>
                <c:pt idx="22">
                  <c:v>0.33579798739531441</c:v>
                </c:pt>
                <c:pt idx="23">
                  <c:v>0.32893043806719202</c:v>
                </c:pt>
                <c:pt idx="24">
                  <c:v>0.33577881099230511</c:v>
                </c:pt>
                <c:pt idx="25">
                  <c:v>0.32776667010949639</c:v>
                </c:pt>
                <c:pt idx="26">
                  <c:v>0.3311812683705464</c:v>
                </c:pt>
                <c:pt idx="27">
                  <c:v>0.3243137190424254</c:v>
                </c:pt>
                <c:pt idx="28">
                  <c:v>0.32887290885816239</c:v>
                </c:pt>
                <c:pt idx="29">
                  <c:v>0.322005359530038</c:v>
                </c:pt>
                <c:pt idx="30">
                  <c:v>0.32656454934577811</c:v>
                </c:pt>
                <c:pt idx="31">
                  <c:v>0.31969700001765505</c:v>
                </c:pt>
                <c:pt idx="32">
                  <c:v>0.32425618983339138</c:v>
                </c:pt>
                <c:pt idx="33">
                  <c:v>0.316244048950583</c:v>
                </c:pt>
                <c:pt idx="34">
                  <c:v>0.32194783032100732</c:v>
                </c:pt>
                <c:pt idx="35">
                  <c:v>0.3150802809928881</c:v>
                </c:pt>
                <c:pt idx="36">
                  <c:v>0.31735028769925216</c:v>
                </c:pt>
                <c:pt idx="37">
                  <c:v>0.31048273837112805</c:v>
                </c:pt>
                <c:pt idx="38">
                  <c:v>0.31733111129623798</c:v>
                </c:pt>
                <c:pt idx="39">
                  <c:v>0.30931897041343187</c:v>
                </c:pt>
                <c:pt idx="40">
                  <c:v>0.31273356867448032</c:v>
                </c:pt>
                <c:pt idx="41">
                  <c:v>0.30586601934635987</c:v>
                </c:pt>
                <c:pt idx="42">
                  <c:v>0.31042520916209787</c:v>
                </c:pt>
                <c:pt idx="43">
                  <c:v>0.30355765983397398</c:v>
                </c:pt>
                <c:pt idx="44">
                  <c:v>0.30811684964971353</c:v>
                </c:pt>
                <c:pt idx="45">
                  <c:v>0.30124930032158975</c:v>
                </c:pt>
                <c:pt idx="46">
                  <c:v>0.30809767324670218</c:v>
                </c:pt>
                <c:pt idx="47">
                  <c:v>0.3000855323638934</c:v>
                </c:pt>
                <c:pt idx="48">
                  <c:v>0.30350013062494441</c:v>
                </c:pt>
                <c:pt idx="49">
                  <c:v>0.29663258129682241</c:v>
                </c:pt>
                <c:pt idx="50">
                  <c:v>0.30348095422193305</c:v>
                </c:pt>
                <c:pt idx="51">
                  <c:v>0.29661340489381138</c:v>
                </c:pt>
                <c:pt idx="52">
                  <c:v>0.30117259470954988</c:v>
                </c:pt>
                <c:pt idx="53">
                  <c:v>0.29430504538142632</c:v>
                </c:pt>
                <c:pt idx="54">
                  <c:v>0.29886423519716587</c:v>
                </c:pt>
                <c:pt idx="55">
                  <c:v>0.29199668586904509</c:v>
                </c:pt>
                <c:pt idx="56">
                  <c:v>0.29884505879415302</c:v>
                </c:pt>
                <c:pt idx="57">
                  <c:v>0.29083291791134641</c:v>
                </c:pt>
                <c:pt idx="58">
                  <c:v>0.29424751617239475</c:v>
                </c:pt>
                <c:pt idx="59">
                  <c:v>0.28737996684427547</c:v>
                </c:pt>
                <c:pt idx="60">
                  <c:v>0.29422833976938517</c:v>
                </c:pt>
                <c:pt idx="61">
                  <c:v>0.28736079044126411</c:v>
                </c:pt>
                <c:pt idx="62">
                  <c:v>0.29191998025700211</c:v>
                </c:pt>
                <c:pt idx="63">
                  <c:v>0.28505243092888005</c:v>
                </c:pt>
                <c:pt idx="64">
                  <c:v>0.28961162074461638</c:v>
                </c:pt>
                <c:pt idx="65">
                  <c:v>0.28274407141649399</c:v>
                </c:pt>
                <c:pt idx="66">
                  <c:v>0.28959244434160508</c:v>
                </c:pt>
                <c:pt idx="67">
                  <c:v>0.28272489501348541</c:v>
                </c:pt>
                <c:pt idx="68">
                  <c:v>0.28957326793859606</c:v>
                </c:pt>
                <c:pt idx="69">
                  <c:v>0.282705718610473</c:v>
                </c:pt>
                <c:pt idx="70">
                  <c:v>0.28497572531683824</c:v>
                </c:pt>
                <c:pt idx="71">
                  <c:v>0.27810817598871618</c:v>
                </c:pt>
                <c:pt idx="72">
                  <c:v>0.28495654891382632</c:v>
                </c:pt>
                <c:pt idx="73">
                  <c:v>0.27808899958570688</c:v>
                </c:pt>
                <c:pt idx="74">
                  <c:v>0.28493737251081602</c:v>
                </c:pt>
                <c:pt idx="75">
                  <c:v>0.27806982318269541</c:v>
                </c:pt>
                <c:pt idx="76">
                  <c:v>0.28491819610780711</c:v>
                </c:pt>
                <c:pt idx="77">
                  <c:v>0.27805064677968488</c:v>
                </c:pt>
                <c:pt idx="78">
                  <c:v>0.28489901970479498</c:v>
                </c:pt>
                <c:pt idx="79">
                  <c:v>0.27803147037667297</c:v>
                </c:pt>
                <c:pt idx="80">
                  <c:v>0.28030147708303732</c:v>
                </c:pt>
                <c:pt idx="81">
                  <c:v>0.27342433955341106</c:v>
                </c:pt>
                <c:pt idx="82">
                  <c:v>0.28028230068002602</c:v>
                </c:pt>
                <c:pt idx="83">
                  <c:v>0.27340516315039898</c:v>
                </c:pt>
                <c:pt idx="84">
                  <c:v>0.280263124277016</c:v>
                </c:pt>
                <c:pt idx="85">
                  <c:v>0.27338598674739018</c:v>
                </c:pt>
                <c:pt idx="86">
                  <c:v>0.28024394787400497</c:v>
                </c:pt>
                <c:pt idx="87">
                  <c:v>0.27336681034437987</c:v>
                </c:pt>
                <c:pt idx="88">
                  <c:v>0.28022477147099617</c:v>
                </c:pt>
                <c:pt idx="89">
                  <c:v>0.27334763394136802</c:v>
                </c:pt>
                <c:pt idx="90">
                  <c:v>0.28096705807085798</c:v>
                </c:pt>
                <c:pt idx="91">
                  <c:v>0.28476478488372198</c:v>
                </c:pt>
                <c:pt idx="92">
                  <c:v>0.27789723555559975</c:v>
                </c:pt>
                <c:pt idx="93">
                  <c:v>0.28474560848071079</c:v>
                </c:pt>
                <c:pt idx="94">
                  <c:v>0.27787805915259017</c:v>
                </c:pt>
                <c:pt idx="95">
                  <c:v>0.28472643207770132</c:v>
                </c:pt>
                <c:pt idx="96">
                  <c:v>0.27785888274958087</c:v>
                </c:pt>
                <c:pt idx="97">
                  <c:v>0.2854687186775654</c:v>
                </c:pt>
                <c:pt idx="98">
                  <c:v>0.28926644549042702</c:v>
                </c:pt>
                <c:pt idx="99">
                  <c:v>0.28239889616230718</c:v>
                </c:pt>
                <c:pt idx="100">
                  <c:v>0.29000873209029132</c:v>
                </c:pt>
                <c:pt idx="101">
                  <c:v>0.28238451386005076</c:v>
                </c:pt>
                <c:pt idx="102">
                  <c:v>0.29380486086957236</c:v>
                </c:pt>
                <c:pt idx="103">
                  <c:v>0.28694370367578498</c:v>
                </c:pt>
                <c:pt idx="104">
                  <c:v>0.29836564871889198</c:v>
                </c:pt>
                <c:pt idx="105">
                  <c:v>0.29149809939077187</c:v>
                </c:pt>
                <c:pt idx="106">
                  <c:v>0.30292483853463087</c:v>
                </c:pt>
                <c:pt idx="107">
                  <c:v>0.29491269765182188</c:v>
                </c:pt>
                <c:pt idx="108">
                  <c:v>0.30366712513449318</c:v>
                </c:pt>
                <c:pt idx="109">
                  <c:v>0.29604290690425122</c:v>
                </c:pt>
                <c:pt idx="110">
                  <c:v>0.30822631495023117</c:v>
                </c:pt>
                <c:pt idx="111">
                  <c:v>0.30060209671998805</c:v>
                </c:pt>
                <c:pt idx="112">
                  <c:v>0.31660240798184347</c:v>
                </c:pt>
                <c:pt idx="113">
                  <c:v>0.30859026709903353</c:v>
                </c:pt>
                <c:pt idx="114">
                  <c:v>0.32116159779757941</c:v>
                </c:pt>
                <c:pt idx="115">
                  <c:v>0.31314945691476898</c:v>
                </c:pt>
                <c:pt idx="116">
                  <c:v>0.32571918957973217</c:v>
                </c:pt>
                <c:pt idx="117">
                  <c:v>0.31656884927657464</c:v>
                </c:pt>
                <c:pt idx="118">
                  <c:v>0.33027837939547217</c:v>
                </c:pt>
                <c:pt idx="119">
                  <c:v>0.32341722220168517</c:v>
                </c:pt>
                <c:pt idx="120">
                  <c:v>0.33483756921120811</c:v>
                </c:pt>
                <c:pt idx="121">
                  <c:v>0.32797641201742328</c:v>
                </c:pt>
                <c:pt idx="122">
                  <c:v>0.3439767232792777</c:v>
                </c:pt>
                <c:pt idx="123">
                  <c:v>0.33596458239646992</c:v>
                </c:pt>
                <c:pt idx="124">
                  <c:v>0.34624672998563932</c:v>
                </c:pt>
                <c:pt idx="125">
                  <c:v>0.35767346912949988</c:v>
                </c:pt>
                <c:pt idx="126">
                  <c:v>0.35080591980137632</c:v>
                </c:pt>
                <c:pt idx="127">
                  <c:v>0.36223106091165108</c:v>
                </c:pt>
                <c:pt idx="128">
                  <c:v>0.35308072060849238</c:v>
                </c:pt>
                <c:pt idx="129">
                  <c:v>0.37136861694613632</c:v>
                </c:pt>
                <c:pt idx="130">
                  <c:v>0.36221827664297818</c:v>
                </c:pt>
                <c:pt idx="131">
                  <c:v>0.38050777101420741</c:v>
                </c:pt>
                <c:pt idx="132">
                  <c:v>0.37135103857670893</c:v>
                </c:pt>
                <c:pt idx="133">
                  <c:v>0.38506536279635906</c:v>
                </c:pt>
                <c:pt idx="134">
                  <c:v>0.37591502249319875</c:v>
                </c:pt>
                <c:pt idx="135">
                  <c:v>0.39420291883084546</c:v>
                </c:pt>
                <c:pt idx="136">
                  <c:v>0.38505257852768587</c:v>
                </c:pt>
                <c:pt idx="137">
                  <c:v>0.40334047486532798</c:v>
                </c:pt>
                <c:pt idx="138">
                  <c:v>0.39419013456217</c:v>
                </c:pt>
                <c:pt idx="139">
                  <c:v>0.41247803089981505</c:v>
                </c:pt>
                <c:pt idx="140">
                  <c:v>0.40217830494121498</c:v>
                </c:pt>
                <c:pt idx="141">
                  <c:v>0.42161558693429935</c:v>
                </c:pt>
                <c:pt idx="142">
                  <c:v>0.41131586097570211</c:v>
                </c:pt>
                <c:pt idx="143">
                  <c:v>0.40559769730301798</c:v>
                </c:pt>
                <c:pt idx="144">
                  <c:v>0.43075314296878275</c:v>
                </c:pt>
                <c:pt idx="145">
                  <c:v>0.42045341701018502</c:v>
                </c:pt>
                <c:pt idx="146">
                  <c:v>0.414735253337503</c:v>
                </c:pt>
                <c:pt idx="147">
                  <c:v>0.43531393081810532</c:v>
                </c:pt>
                <c:pt idx="148">
                  <c:v>0.42730178993529794</c:v>
                </c:pt>
                <c:pt idx="149">
                  <c:v>0.44445947702051097</c:v>
                </c:pt>
                <c:pt idx="150">
                  <c:v>0.43529475441509474</c:v>
                </c:pt>
                <c:pt idx="151">
                  <c:v>0.45359703305499599</c:v>
                </c:pt>
                <c:pt idx="152">
                  <c:v>0.44329730709639659</c:v>
                </c:pt>
                <c:pt idx="153">
                  <c:v>0.46273458908948217</c:v>
                </c:pt>
                <c:pt idx="154">
                  <c:v>0.45243486313088488</c:v>
                </c:pt>
                <c:pt idx="155">
                  <c:v>0.44671669945820108</c:v>
                </c:pt>
                <c:pt idx="156">
                  <c:v>0.47187214512396741</c:v>
                </c:pt>
                <c:pt idx="157">
                  <c:v>0.46157241916536917</c:v>
                </c:pt>
                <c:pt idx="158">
                  <c:v>0.45585425549268632</c:v>
                </c:pt>
                <c:pt idx="159">
                  <c:v>0.48100970115845287</c:v>
                </c:pt>
                <c:pt idx="160">
                  <c:v>0.47070997519985547</c:v>
                </c:pt>
                <c:pt idx="161">
                  <c:v>0.46499181152717101</c:v>
                </c:pt>
                <c:pt idx="162">
                  <c:v>0.490147257192936</c:v>
                </c:pt>
                <c:pt idx="163">
                  <c:v>0.47984753123433832</c:v>
                </c:pt>
                <c:pt idx="164">
                  <c:v>0.47412936756165741</c:v>
                </c:pt>
                <c:pt idx="165">
                  <c:v>0.49928481322742441</c:v>
                </c:pt>
                <c:pt idx="166">
                  <c:v>0.49013447292426487</c:v>
                </c:pt>
                <c:pt idx="167">
                  <c:v>0.48326692359614098</c:v>
                </c:pt>
                <c:pt idx="168">
                  <c:v>0.5130007354806535</c:v>
                </c:pt>
                <c:pt idx="169">
                  <c:v>0.50270100952205599</c:v>
                </c:pt>
                <c:pt idx="170">
                  <c:v>0.49698284584937641</c:v>
                </c:pt>
                <c:pt idx="171">
                  <c:v>0.52213829151513902</c:v>
                </c:pt>
                <c:pt idx="172">
                  <c:v>0.5118385655565405</c:v>
                </c:pt>
                <c:pt idx="173">
                  <c:v>0.50612040188385898</c:v>
                </c:pt>
                <c:pt idx="174">
                  <c:v>0.53127584754962565</c:v>
                </c:pt>
                <c:pt idx="175">
                  <c:v>0.52097612159102558</c:v>
                </c:pt>
                <c:pt idx="176">
                  <c:v>0.5152579579183435</c:v>
                </c:pt>
                <c:pt idx="177">
                  <c:v>0.54499176980285657</c:v>
                </c:pt>
                <c:pt idx="178">
                  <c:v>0.5346920438442585</c:v>
                </c:pt>
                <c:pt idx="179">
                  <c:v>0.52897388017157765</c:v>
                </c:pt>
                <c:pt idx="180">
                  <c:v>0.55412932583733965</c:v>
                </c:pt>
                <c:pt idx="181">
                  <c:v>0.54382959987874402</c:v>
                </c:pt>
                <c:pt idx="182">
                  <c:v>0.53811143620606205</c:v>
                </c:pt>
                <c:pt idx="183">
                  <c:v>0.56784524809057979</c:v>
                </c:pt>
                <c:pt idx="184">
                  <c:v>0.55754552213197694</c:v>
                </c:pt>
                <c:pt idx="185">
                  <c:v>0.55182735845929565</c:v>
                </c:pt>
                <c:pt idx="186">
                  <c:v>0.5769844021586471</c:v>
                </c:pt>
                <c:pt idx="187">
                  <c:v>0.56782766972114851</c:v>
                </c:pt>
                <c:pt idx="188">
                  <c:v>0.56096491449378283</c:v>
                </c:pt>
                <c:pt idx="189">
                  <c:v>0.58612994836105059</c:v>
                </c:pt>
                <c:pt idx="190">
                  <c:v>0.57696522575563358</c:v>
                </c:pt>
                <c:pt idx="191">
                  <c:v>0.59526910242912001</c:v>
                </c:pt>
                <c:pt idx="192">
                  <c:v>0.58611236999161753</c:v>
                </c:pt>
                <c:pt idx="193">
                  <c:v>0.60441464863152605</c:v>
                </c:pt>
                <c:pt idx="194">
                  <c:v>0.59524992602610904</c:v>
                </c:pt>
                <c:pt idx="195">
                  <c:v>0.6135538026995998</c:v>
                </c:pt>
                <c:pt idx="196">
                  <c:v>0.60439707026210165</c:v>
                </c:pt>
                <c:pt idx="197">
                  <c:v>0.62269934890200163</c:v>
                </c:pt>
                <c:pt idx="198">
                  <c:v>0.61125023728796402</c:v>
                </c:pt>
                <c:pt idx="199">
                  <c:v>0.636415271155234</c:v>
                </c:pt>
                <c:pt idx="200">
                  <c:v>0.62611554519663559</c:v>
                </c:pt>
                <c:pt idx="201">
                  <c:v>0.61810819841458375</c:v>
                </c:pt>
                <c:pt idx="202">
                  <c:v>0.64555442522330464</c:v>
                </c:pt>
                <c:pt idx="203">
                  <c:v>0.63754228434049565</c:v>
                </c:pt>
                <c:pt idx="204">
                  <c:v>0.62953493755844181</c:v>
                </c:pt>
                <c:pt idx="205">
                  <c:v>0.65469997142571479</c:v>
                </c:pt>
                <c:pt idx="206">
                  <c:v>0.64325085981167263</c:v>
                </c:pt>
                <c:pt idx="207">
                  <c:v>0.66841589367894483</c:v>
                </c:pt>
                <c:pt idx="208">
                  <c:v>0.65811616772034165</c:v>
                </c:pt>
                <c:pt idx="209">
                  <c:v>0.65239800404766202</c:v>
                </c:pt>
                <c:pt idx="210">
                  <c:v>0.68213341396575999</c:v>
                </c:pt>
                <c:pt idx="211">
                  <c:v>0.67297668152826395</c:v>
                </c:pt>
                <c:pt idx="212">
                  <c:v>0.66611392630089783</c:v>
                </c:pt>
                <c:pt idx="213">
                  <c:v>0.69127896016816603</c:v>
                </c:pt>
                <c:pt idx="214">
                  <c:v>0.6798298485541342</c:v>
                </c:pt>
                <c:pt idx="215">
                  <c:v>0.70499488242140118</c:v>
                </c:pt>
                <c:pt idx="216">
                  <c:v>0.69469515646280433</c:v>
                </c:pt>
                <c:pt idx="217">
                  <c:v>0.68668780968074405</c:v>
                </c:pt>
                <c:pt idx="218">
                  <c:v>0.71871240270821601</c:v>
                </c:pt>
                <c:pt idx="219">
                  <c:v>0.70955567027072064</c:v>
                </c:pt>
                <c:pt idx="220">
                  <c:v>0.70040373193397698</c:v>
                </c:pt>
                <c:pt idx="221">
                  <c:v>0.7278579489106215</c:v>
                </c:pt>
                <c:pt idx="222">
                  <c:v>0.71640883729658822</c:v>
                </c:pt>
                <c:pt idx="223">
                  <c:v>0.741575469197439</c:v>
                </c:pt>
                <c:pt idx="224">
                  <c:v>0.73241873675994296</c:v>
                </c:pt>
                <c:pt idx="225">
                  <c:v>0.72326679842320007</c:v>
                </c:pt>
                <c:pt idx="226">
                  <c:v>0.75072101539984992</c:v>
                </c:pt>
                <c:pt idx="227">
                  <c:v>0.736982720676433</c:v>
                </c:pt>
                <c:pt idx="228">
                  <c:v>0.76443693765308118</c:v>
                </c:pt>
                <c:pt idx="229">
                  <c:v>0.75413721169448356</c:v>
                </c:pt>
                <c:pt idx="230">
                  <c:v>0.74612986491242295</c:v>
                </c:pt>
                <c:pt idx="231">
                  <c:v>0.77815285990631</c:v>
                </c:pt>
                <c:pt idx="232">
                  <c:v>0.76785313394771204</c:v>
                </c:pt>
                <c:pt idx="233">
                  <c:v>0.75984578716565665</c:v>
                </c:pt>
                <c:pt idx="234">
                  <c:v>0.79187038019312705</c:v>
                </c:pt>
                <c:pt idx="235">
                  <c:v>0.78271364775563157</c:v>
                </c:pt>
                <c:pt idx="236">
                  <c:v>0.77356170941889135</c:v>
                </c:pt>
                <c:pt idx="237">
                  <c:v>0.80558470441277596</c:v>
                </c:pt>
                <c:pt idx="238">
                  <c:v>0.79528497845418034</c:v>
                </c:pt>
                <c:pt idx="239">
                  <c:v>0.78956681478149549</c:v>
                </c:pt>
                <c:pt idx="240">
                  <c:v>0.81930222469959535</c:v>
                </c:pt>
                <c:pt idx="241">
                  <c:v>0.81014549226210175</c:v>
                </c:pt>
                <c:pt idx="242">
                  <c:v>0.80099355392535498</c:v>
                </c:pt>
                <c:pt idx="243">
                  <c:v>0.8284477709019985</c:v>
                </c:pt>
                <c:pt idx="244">
                  <c:v>0.816998659287961</c:v>
                </c:pt>
                <c:pt idx="245">
                  <c:v>0.84216369315523198</c:v>
                </c:pt>
                <c:pt idx="246">
                  <c:v>0.83186396719663358</c:v>
                </c:pt>
                <c:pt idx="247">
                  <c:v>0.82385662041458141</c:v>
                </c:pt>
                <c:pt idx="248">
                  <c:v>0.85130284722330263</c:v>
                </c:pt>
                <c:pt idx="249">
                  <c:v>0.84214611478580603</c:v>
                </c:pt>
                <c:pt idx="250">
                  <c:v>0.83528335955843702</c:v>
                </c:pt>
                <c:pt idx="251">
                  <c:v>0.86044839342571033</c:v>
                </c:pt>
                <c:pt idx="252">
                  <c:v>0.8489992818116695</c:v>
                </c:pt>
                <c:pt idx="253">
                  <c:v>0.87416431567894004</c:v>
                </c:pt>
                <c:pt idx="254">
                  <c:v>0.86271999816565503</c:v>
                </c:pt>
                <c:pt idx="255">
                  <c:v>0.85585724293828846</c:v>
                </c:pt>
                <c:pt idx="256">
                  <c:v>0.883301871713425</c:v>
                </c:pt>
                <c:pt idx="257">
                  <c:v>0.87300214575482649</c:v>
                </c:pt>
                <c:pt idx="258">
                  <c:v>0.86728398208214497</c:v>
                </c:pt>
                <c:pt idx="259">
                  <c:v>0.89701779396665471</c:v>
                </c:pt>
                <c:pt idx="260">
                  <c:v>0.88671806800805997</c:v>
                </c:pt>
                <c:pt idx="261">
                  <c:v>0.87871072122600402</c:v>
                </c:pt>
                <c:pt idx="262">
                  <c:v>0.906155350001143</c:v>
                </c:pt>
                <c:pt idx="263">
                  <c:v>0.89585562404254504</c:v>
                </c:pt>
                <c:pt idx="264">
                  <c:v>0.89013746036986297</c:v>
                </c:pt>
                <c:pt idx="265">
                  <c:v>0.91529450406921298</c:v>
                </c:pt>
                <c:pt idx="266">
                  <c:v>0.90728236318640165</c:v>
                </c:pt>
                <c:pt idx="267">
                  <c:v>0.89927501640435081</c:v>
                </c:pt>
                <c:pt idx="268">
                  <c:v>0.92444005027161902</c:v>
                </c:pt>
                <c:pt idx="269">
                  <c:v>0.91527532766620201</c:v>
                </c:pt>
                <c:pt idx="270">
                  <c:v>0.93357760630610465</c:v>
                </c:pt>
                <c:pt idx="271">
                  <c:v>0.92327788034750502</c:v>
                </c:pt>
                <c:pt idx="272">
                  <c:v>0.94271516234059183</c:v>
                </c:pt>
                <c:pt idx="273">
                  <c:v>0.93241543638199165</c:v>
                </c:pt>
                <c:pt idx="274">
                  <c:v>0.92669727270931135</c:v>
                </c:pt>
                <c:pt idx="275">
                  <c:v>0.95185271837507635</c:v>
                </c:pt>
                <c:pt idx="276">
                  <c:v>0.94155299241647605</c:v>
                </c:pt>
                <c:pt idx="277">
                  <c:v>0.93583482874379464</c:v>
                </c:pt>
                <c:pt idx="278">
                  <c:v>0.95641350622439503</c:v>
                </c:pt>
                <c:pt idx="279">
                  <c:v>0.94840136534158703</c:v>
                </c:pt>
                <c:pt idx="280">
                  <c:v>0.96211728759482062</c:v>
                </c:pt>
                <c:pt idx="281">
                  <c:v>0.97011824224253895</c:v>
                </c:pt>
                <c:pt idx="282">
                  <c:v>0.97467743205828139</c:v>
                </c:pt>
                <c:pt idx="283">
                  <c:v>0.96552709175511797</c:v>
                </c:pt>
                <c:pt idx="284">
                  <c:v>0.98381658612634193</c:v>
                </c:pt>
                <c:pt idx="285">
                  <c:v>0.97580444524353982</c:v>
                </c:pt>
                <c:pt idx="286">
                  <c:v>0.98837577594208259</c:v>
                </c:pt>
                <c:pt idx="287">
                  <c:v>0.98036363505927349</c:v>
                </c:pt>
                <c:pt idx="288">
                  <c:v>0.99293496575781692</c:v>
                </c:pt>
                <c:pt idx="289">
                  <c:v>0.98606741642969964</c:v>
                </c:pt>
                <c:pt idx="290">
                  <c:v>0.99749415557355703</c:v>
                </c:pt>
                <c:pt idx="291">
                  <c:v>0.99062660624543664</c:v>
                </c:pt>
                <c:pt idx="292">
                  <c:v>0.998236442173421</c:v>
                </c:pt>
                <c:pt idx="293">
                  <c:v>0.99061222394317805</c:v>
                </c:pt>
                <c:pt idx="294">
                  <c:v>1.0020341689862842</c:v>
                </c:pt>
                <c:pt idx="295">
                  <c:v>0.995166619658163</c:v>
                </c:pt>
                <c:pt idx="296">
                  <c:v>1.00201499258327</c:v>
                </c:pt>
                <c:pt idx="297">
                  <c:v>0.99514744325515203</c:v>
                </c:pt>
                <c:pt idx="298">
                  <c:v>1.0019958161802598</c:v>
                </c:pt>
                <c:pt idx="299">
                  <c:v>0.99512826685214151</c:v>
                </c:pt>
                <c:pt idx="300">
                  <c:v>0.99968745666788206</c:v>
                </c:pt>
                <c:pt idx="301">
                  <c:v>0.992819907339757</c:v>
                </c:pt>
                <c:pt idx="302">
                  <c:v>0.99737909715549711</c:v>
                </c:pt>
                <c:pt idx="303">
                  <c:v>0.98936695627268556</c:v>
                </c:pt>
                <c:pt idx="304">
                  <c:v>0.99278155453373595</c:v>
                </c:pt>
                <c:pt idx="305">
                  <c:v>0.98476941365092863</c:v>
                </c:pt>
                <c:pt idx="306">
                  <c:v>0.98589482880260348</c:v>
                </c:pt>
                <c:pt idx="307">
                  <c:v>0.97673809636511322</c:v>
                </c:pt>
                <c:pt idx="308">
                  <c:v>0.981297286180846</c:v>
                </c:pt>
                <c:pt idx="309">
                  <c:v>0.97214055374335095</c:v>
                </c:pt>
                <c:pt idx="310">
                  <c:v>0.96220957403430862</c:v>
                </c:pt>
                <c:pt idx="311">
                  <c:v>0.97212137734034065</c:v>
                </c:pt>
                <c:pt idx="312">
                  <c:v>0.96066427555838418</c:v>
                </c:pt>
                <c:pt idx="313">
                  <c:v>0.95150914115447005</c:v>
                </c:pt>
                <c:pt idx="314">
                  <c:v>0.95835751407958381</c:v>
                </c:pt>
                <c:pt idx="315">
                  <c:v>0.94920078164208599</c:v>
                </c:pt>
                <c:pt idx="316">
                  <c:v>0.94233323231396404</c:v>
                </c:pt>
                <c:pt idx="317">
                  <c:v>0.94460323902032695</c:v>
                </c:pt>
                <c:pt idx="318">
                  <c:v>0.93544650658283202</c:v>
                </c:pt>
                <c:pt idx="319">
                  <c:v>0.92857895725471062</c:v>
                </c:pt>
                <c:pt idx="320">
                  <c:v>0.93772130738994863</c:v>
                </c:pt>
                <c:pt idx="321">
                  <c:v>0.92855978085169788</c:v>
                </c:pt>
                <c:pt idx="322">
                  <c:v>0.91940304841420351</c:v>
                </c:pt>
                <c:pt idx="323">
                  <c:v>0.91023672777519993</c:v>
                </c:pt>
                <c:pt idx="324">
                  <c:v>0.91709468890182</c:v>
                </c:pt>
                <c:pt idx="325">
                  <c:v>0.90106880910261589</c:v>
                </c:pt>
                <c:pt idx="326">
                  <c:v>0.9056343910526915</c:v>
                </c:pt>
                <c:pt idx="327">
                  <c:v>0.89647286451444397</c:v>
                </c:pt>
                <c:pt idx="328">
                  <c:v>0.88731613207694593</c:v>
                </c:pt>
                <c:pt idx="329">
                  <c:v>0.87930399119414004</c:v>
                </c:pt>
                <c:pt idx="330">
                  <c:v>0.87013767055514135</c:v>
                </c:pt>
                <c:pt idx="331">
                  <c:v>0.88730174977469056</c:v>
                </c:pt>
                <c:pt idx="332">
                  <c:v>0.8781402232364458</c:v>
                </c:pt>
                <c:pt idx="333">
                  <c:v>0.86097134991613899</c:v>
                </c:pt>
                <c:pt idx="334">
                  <c:v>0.86897390259744434</c:v>
                </c:pt>
                <c:pt idx="335">
                  <c:v>0.85180502927713864</c:v>
                </c:pt>
                <c:pt idx="336">
                  <c:v>0.85980758195844098</c:v>
                </c:pt>
                <c:pt idx="337">
                  <c:v>0.84263870863814005</c:v>
                </c:pt>
                <c:pt idx="338">
                  <c:v>0.85064126131944406</c:v>
                </c:pt>
                <c:pt idx="339">
                  <c:v>0.83347238799913559</c:v>
                </c:pt>
                <c:pt idx="340">
                  <c:v>0.84147494068044004</c:v>
                </c:pt>
                <c:pt idx="341">
                  <c:v>0.83230862004143902</c:v>
                </c:pt>
                <c:pt idx="342">
                  <c:v>0.82315188760394364</c:v>
                </c:pt>
                <c:pt idx="343">
                  <c:v>0.81513974672113498</c:v>
                </c:pt>
                <c:pt idx="344">
                  <c:v>0.80597342608213463</c:v>
                </c:pt>
                <c:pt idx="345">
                  <c:v>0.8231375053016855</c:v>
                </c:pt>
                <c:pt idx="346">
                  <c:v>0.81397597876343764</c:v>
                </c:pt>
                <c:pt idx="347">
                  <c:v>0.79680710544313305</c:v>
                </c:pt>
                <c:pt idx="348">
                  <c:v>0.80480965812443994</c:v>
                </c:pt>
                <c:pt idx="349">
                  <c:v>0.78764078480413202</c:v>
                </c:pt>
                <c:pt idx="350">
                  <c:v>0.79564333748543881</c:v>
                </c:pt>
                <c:pt idx="351">
                  <c:v>0.77732987261045039</c:v>
                </c:pt>
                <c:pt idx="352">
                  <c:v>0.78418783373706058</c:v>
                </c:pt>
                <c:pt idx="353">
                  <c:v>0.76816195393786002</c:v>
                </c:pt>
                <c:pt idx="354">
                  <c:v>0.7613007967440778</c:v>
                </c:pt>
                <c:pt idx="355">
                  <c:v>0.75441726708011103</c:v>
                </c:pt>
                <c:pt idx="356">
                  <c:v>0.74755610988632293</c:v>
                </c:pt>
                <c:pt idx="357">
                  <c:v>0.76814916966919056</c:v>
                </c:pt>
                <c:pt idx="358">
                  <c:v>0.74067258022236249</c:v>
                </c:pt>
                <c:pt idx="359">
                  <c:v>0.73381142302858282</c:v>
                </c:pt>
                <c:pt idx="360">
                  <c:v>0.75440448281143802</c:v>
                </c:pt>
                <c:pt idx="361">
                  <c:v>0.72692789336461683</c:v>
                </c:pt>
                <c:pt idx="362">
                  <c:v>0.72006673617082895</c:v>
                </c:pt>
                <c:pt idx="363">
                  <c:v>0.7406597959536918</c:v>
                </c:pt>
                <c:pt idx="364">
                  <c:v>0.71318320650686595</c:v>
                </c:pt>
                <c:pt idx="365">
                  <c:v>0.70632204931308162</c:v>
                </c:pt>
                <c:pt idx="366">
                  <c:v>0.72691510909594059</c:v>
                </c:pt>
                <c:pt idx="367">
                  <c:v>0.69943851964911763</c:v>
                </c:pt>
                <c:pt idx="368">
                  <c:v>0.69257736245533197</c:v>
                </c:pt>
                <c:pt idx="369">
                  <c:v>0.71317042223819682</c:v>
                </c:pt>
                <c:pt idx="370">
                  <c:v>0.68569383279136964</c:v>
                </c:pt>
                <c:pt idx="371">
                  <c:v>0.67883267559758775</c:v>
                </c:pt>
                <c:pt idx="372">
                  <c:v>0.69942573538044395</c:v>
                </c:pt>
                <c:pt idx="373">
                  <c:v>0.671950743967204</c:v>
                </c:pt>
                <c:pt idx="374">
                  <c:v>0.66393860308440056</c:v>
                </c:pt>
                <c:pt idx="375">
                  <c:v>0.69025941474144303</c:v>
                </c:pt>
                <c:pt idx="376">
                  <c:v>0.67880870509382418</c:v>
                </c:pt>
                <c:pt idx="377">
                  <c:v>0.65362609285712681</c:v>
                </c:pt>
                <c:pt idx="378">
                  <c:v>0.66506401823607575</c:v>
                </c:pt>
                <c:pt idx="379">
                  <c:v>0.64331677869701998</c:v>
                </c:pt>
                <c:pt idx="380">
                  <c:v>0.65131933137832465</c:v>
                </c:pt>
                <c:pt idx="381">
                  <c:v>0.63529345157912576</c:v>
                </c:pt>
                <c:pt idx="382">
                  <c:v>0.62843229438533699</c:v>
                </c:pt>
                <c:pt idx="383">
                  <c:v>0.62154876472137399</c:v>
                </c:pt>
                <c:pt idx="384">
                  <c:v>0.61468760752759322</c:v>
                </c:pt>
                <c:pt idx="385">
                  <c:v>0.63528066731044963</c:v>
                </c:pt>
                <c:pt idx="386">
                  <c:v>0.60780407786362733</c:v>
                </c:pt>
                <c:pt idx="387">
                  <c:v>0.60094292066984234</c:v>
                </c:pt>
                <c:pt idx="388">
                  <c:v>0.62153598045269998</c:v>
                </c:pt>
                <c:pt idx="389">
                  <c:v>0.59405939100587701</c:v>
                </c:pt>
                <c:pt idx="390">
                  <c:v>0.58719823381209202</c:v>
                </c:pt>
                <c:pt idx="391">
                  <c:v>0.60779129359495576</c:v>
                </c:pt>
                <c:pt idx="392">
                  <c:v>0.58031470414812758</c:v>
                </c:pt>
                <c:pt idx="393">
                  <c:v>0.57345354695434259</c:v>
                </c:pt>
                <c:pt idx="394">
                  <c:v>0.59404660673720089</c:v>
                </c:pt>
                <c:pt idx="395">
                  <c:v>0.56657001729038181</c:v>
                </c:pt>
                <c:pt idx="396">
                  <c:v>0.55970886009659782</c:v>
                </c:pt>
                <c:pt idx="397">
                  <c:v>0.58030191987945356</c:v>
                </c:pt>
                <c:pt idx="398">
                  <c:v>0.55282692846621451</c:v>
                </c:pt>
                <c:pt idx="399">
                  <c:v>0.54481478758340762</c:v>
                </c:pt>
                <c:pt idx="400">
                  <c:v>0.57113559924045398</c:v>
                </c:pt>
                <c:pt idx="401">
                  <c:v>0.55968488959283202</c:v>
                </c:pt>
                <c:pt idx="402">
                  <c:v>0.53450227735613498</c:v>
                </c:pt>
                <c:pt idx="403">
                  <c:v>0.54594020273508581</c:v>
                </c:pt>
                <c:pt idx="404">
                  <c:v>0.5207575904983881</c:v>
                </c:pt>
                <c:pt idx="405">
                  <c:v>0.53219551587733449</c:v>
                </c:pt>
                <c:pt idx="406">
                  <c:v>0.50701290364063756</c:v>
                </c:pt>
                <c:pt idx="407">
                  <c:v>0.51845082901958595</c:v>
                </c:pt>
                <c:pt idx="408">
                  <c:v>0.49326821678289018</c:v>
                </c:pt>
                <c:pt idx="409">
                  <c:v>0.50470614216183796</c:v>
                </c:pt>
                <c:pt idx="410">
                  <c:v>0.47952352992514241</c:v>
                </c:pt>
                <c:pt idx="411">
                  <c:v>0.49096145530409041</c:v>
                </c:pt>
                <c:pt idx="412">
                  <c:v>0.46577884306739198</c:v>
                </c:pt>
                <c:pt idx="413">
                  <c:v>0.47721676844633976</c:v>
                </c:pt>
                <c:pt idx="414">
                  <c:v>0.45203415620964332</c:v>
                </c:pt>
                <c:pt idx="415">
                  <c:v>0.46347208158859232</c:v>
                </c:pt>
                <c:pt idx="416">
                  <c:v>0.43828946935189711</c:v>
                </c:pt>
                <c:pt idx="417">
                  <c:v>0.44972739473084405</c:v>
                </c:pt>
                <c:pt idx="418">
                  <c:v>0.42454478249414718</c:v>
                </c:pt>
                <c:pt idx="419">
                  <c:v>0.4359827078730974</c:v>
                </c:pt>
                <c:pt idx="420">
                  <c:v>0.41080009563639802</c:v>
                </c:pt>
                <c:pt idx="421">
                  <c:v>0.42223802101534602</c:v>
                </c:pt>
                <c:pt idx="422">
                  <c:v>0.40049078147629402</c:v>
                </c:pt>
                <c:pt idx="423">
                  <c:v>0.40849333415759775</c:v>
                </c:pt>
                <c:pt idx="424">
                  <c:v>0.39246745435839597</c:v>
                </c:pt>
                <c:pt idx="425">
                  <c:v>0.3856062971646137</c:v>
                </c:pt>
                <c:pt idx="426">
                  <c:v>0.37872276750065109</c:v>
                </c:pt>
                <c:pt idx="427">
                  <c:v>0.37186161030686488</c:v>
                </c:pt>
                <c:pt idx="428">
                  <c:v>0.3924546700897254</c:v>
                </c:pt>
                <c:pt idx="429">
                  <c:v>0.36497967867648418</c:v>
                </c:pt>
                <c:pt idx="430">
                  <c:v>0.38328834945072232</c:v>
                </c:pt>
                <c:pt idx="431">
                  <c:v>0.37183763980309997</c:v>
                </c:pt>
                <c:pt idx="432">
                  <c:v>0.35581176000390041</c:v>
                </c:pt>
                <c:pt idx="433">
                  <c:v>0.34895060281011397</c:v>
                </c:pt>
                <c:pt idx="434">
                  <c:v>0.34206707314614998</c:v>
                </c:pt>
                <c:pt idx="435">
                  <c:v>0.35579897573522618</c:v>
                </c:pt>
                <c:pt idx="436">
                  <c:v>0.32832398432198839</c:v>
                </c:pt>
                <c:pt idx="437">
                  <c:v>0.34663265509622393</c:v>
                </c:pt>
                <c:pt idx="438">
                  <c:v>0.33518194544860352</c:v>
                </c:pt>
                <c:pt idx="439">
                  <c:v>0.31915606564940341</c:v>
                </c:pt>
                <c:pt idx="440">
                  <c:v>0.30541297682523794</c:v>
                </c:pt>
                <c:pt idx="441">
                  <c:v>0.32372164759947664</c:v>
                </c:pt>
                <c:pt idx="442">
                  <c:v>0.3122709379518554</c:v>
                </c:pt>
                <c:pt idx="443">
                  <c:v>0.29624505815265101</c:v>
                </c:pt>
                <c:pt idx="444">
                  <c:v>0.28364656088317408</c:v>
                </c:pt>
                <c:pt idx="445">
                  <c:v>0.30081064010272618</c:v>
                </c:pt>
                <c:pt idx="446">
                  <c:v>0.29164911356447698</c:v>
                </c:pt>
                <c:pt idx="447">
                  <c:v>0.27333564868948601</c:v>
                </c:pt>
                <c:pt idx="448">
                  <c:v>0.28019360981610275</c:v>
                </c:pt>
                <c:pt idx="449">
                  <c:v>0.26416773001690103</c:v>
                </c:pt>
                <c:pt idx="450">
                  <c:v>0.25156923274742399</c:v>
                </c:pt>
                <c:pt idx="451">
                  <c:v>0.26873331196697475</c:v>
                </c:pt>
                <c:pt idx="452">
                  <c:v>0.259571785428727</c:v>
                </c:pt>
                <c:pt idx="453">
                  <c:v>0.24240291210842388</c:v>
                </c:pt>
                <c:pt idx="454">
                  <c:v>0.25040546478972597</c:v>
                </c:pt>
                <c:pt idx="455">
                  <c:v>0.232091999914735</c:v>
                </c:pt>
                <c:pt idx="456">
                  <c:v>0.23894996104135294</c:v>
                </c:pt>
                <c:pt idx="457">
                  <c:v>0.22292408124214999</c:v>
                </c:pt>
                <c:pt idx="458">
                  <c:v>0.21032558397267301</c:v>
                </c:pt>
                <c:pt idx="459">
                  <c:v>0.22748966319222497</c:v>
                </c:pt>
                <c:pt idx="460">
                  <c:v>0.21832813665397599</c:v>
                </c:pt>
                <c:pt idx="461">
                  <c:v>0.20115926333367187</c:v>
                </c:pt>
                <c:pt idx="462">
                  <c:v>0.20916181601497597</c:v>
                </c:pt>
                <c:pt idx="463">
                  <c:v>0.19199294269467199</c:v>
                </c:pt>
                <c:pt idx="464">
                  <c:v>0.19770631226660099</c:v>
                </c:pt>
                <c:pt idx="465">
                  <c:v>0.18168043246740123</c:v>
                </c:pt>
                <c:pt idx="466">
                  <c:v>0.17023132085336276</c:v>
                </c:pt>
                <c:pt idx="467">
                  <c:v>0.1507492939199222</c:v>
                </c:pt>
                <c:pt idx="468">
                  <c:v>0.14158297328092001</c:v>
                </c:pt>
                <c:pt idx="469">
                  <c:v>0.14958552596222299</c:v>
                </c:pt>
                <c:pt idx="470">
                  <c:v>0.13241665264191901</c:v>
                </c:pt>
                <c:pt idx="471">
                  <c:v>0.14041920532322297</c:v>
                </c:pt>
                <c:pt idx="472">
                  <c:v>0.123250332002918</c:v>
                </c:pt>
                <c:pt idx="473">
                  <c:v>0.13125288468422244</c:v>
                </c:pt>
                <c:pt idx="474">
                  <c:v>0.12208656404522122</c:v>
                </c:pt>
                <c:pt idx="475">
                  <c:v>0.11292983160772453</c:v>
                </c:pt>
                <c:pt idx="476">
                  <c:v>0.105288035008056</c:v>
                </c:pt>
                <c:pt idx="477">
                  <c:v>0.11749381552421502</c:v>
                </c:pt>
                <c:pt idx="478">
                  <c:v>0.10603351767508799</c:v>
                </c:pt>
                <c:pt idx="479">
                  <c:v>9.6876785237593105E-2</c:v>
                </c:pt>
                <c:pt idx="480">
                  <c:v>8.6945805528550246E-2</c:v>
                </c:pt>
                <c:pt idx="481">
                  <c:v>9.6857608834582568E-2</c:v>
                </c:pt>
                <c:pt idx="482">
                  <c:v>8.5400507052623503E-2</c:v>
                </c:pt>
                <c:pt idx="483">
                  <c:v>7.6245372648712145E-2</c:v>
                </c:pt>
                <c:pt idx="484">
                  <c:v>8.3093745573823916E-2</c:v>
                </c:pt>
                <c:pt idx="485">
                  <c:v>7.3937013136327903E-2</c:v>
                </c:pt>
                <c:pt idx="486">
                  <c:v>6.9363441018333291E-2</c:v>
                </c:pt>
                <c:pt idx="487">
                  <c:v>7.3917836733317518E-2</c:v>
                </c:pt>
                <c:pt idx="488">
                  <c:v>6.4761104295822033E-2</c:v>
                </c:pt>
                <c:pt idx="489">
                  <c:v>6.0187532177826922E-2</c:v>
                </c:pt>
                <c:pt idx="490">
                  <c:v>6.474192789281201E-2</c:v>
                </c:pt>
                <c:pt idx="491">
                  <c:v>5.5585195455316101E-2</c:v>
                </c:pt>
                <c:pt idx="492">
                  <c:v>5.5566019052305807E-2</c:v>
                </c:pt>
                <c:pt idx="493">
                  <c:v>4.6409286614809787E-2</c:v>
                </c:pt>
                <c:pt idx="494">
                  <c:v>4.6390110211799312E-2</c:v>
                </c:pt>
                <c:pt idx="495">
                  <c:v>3.8377969328990902E-2</c:v>
                </c:pt>
                <c:pt idx="496">
                  <c:v>4.4086544800167833E-2</c:v>
                </c:pt>
                <c:pt idx="497">
                  <c:v>3.7218995472046268E-2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C81A-4FFD-AC92-178FDFDFE607}"/>
            </c:ext>
          </c:extLst>
        </c:ser>
        <c:ser>
          <c:idx val="2"/>
          <c:order val="2"/>
          <c:tx>
            <c:v>L</c:v>
          </c:tx>
          <c:spPr>
            <a:ln>
              <a:solidFill>
                <a:srgbClr val="00B050"/>
              </a:solidFill>
            </a:ln>
          </c:spPr>
          <c:marker>
            <c:symbol val="none"/>
          </c:marker>
          <c:xVal>
            <c:numRef>
              <c:f>'Visible Calculation'!$J$4:$J$461</c:f>
              <c:numCache>
                <c:formatCode>0</c:formatCode>
                <c:ptCount val="458"/>
                <c:pt idx="0">
                  <c:v>399.84153723538469</c:v>
                </c:pt>
                <c:pt idx="1">
                  <c:v>399.83937989004698</c:v>
                </c:pt>
                <c:pt idx="2">
                  <c:v>401.36246569915505</c:v>
                </c:pt>
                <c:pt idx="3">
                  <c:v>400.98061557420669</c:v>
                </c:pt>
                <c:pt idx="4">
                  <c:v>402.88339416291899</c:v>
                </c:pt>
                <c:pt idx="5">
                  <c:v>404.40504174179893</c:v>
                </c:pt>
                <c:pt idx="6">
                  <c:v>404.40288439646281</c:v>
                </c:pt>
                <c:pt idx="7">
                  <c:v>405.92597020556695</c:v>
                </c:pt>
                <c:pt idx="8">
                  <c:v>405.54412008062098</c:v>
                </c:pt>
                <c:pt idx="9">
                  <c:v>407.44689866933402</c:v>
                </c:pt>
                <c:pt idx="10">
                  <c:v>408.96854624821242</c:v>
                </c:pt>
                <c:pt idx="11">
                  <c:v>410.48947471198193</c:v>
                </c:pt>
                <c:pt idx="12">
                  <c:v>412.01112229086198</c:v>
                </c:pt>
                <c:pt idx="13">
                  <c:v>419.62079841548899</c:v>
                </c:pt>
                <c:pt idx="14">
                  <c:v>421.14244599437063</c:v>
                </c:pt>
                <c:pt idx="15">
                  <c:v>422.66337445813434</c:v>
                </c:pt>
                <c:pt idx="16">
                  <c:v>424.18502203701598</c:v>
                </c:pt>
                <c:pt idx="17">
                  <c:v>425.70595050078299</c:v>
                </c:pt>
                <c:pt idx="18">
                  <c:v>425.32410037583838</c:v>
                </c:pt>
                <c:pt idx="19">
                  <c:v>427.22687896454994</c:v>
                </c:pt>
                <c:pt idx="20">
                  <c:v>428.74852654343101</c:v>
                </c:pt>
                <c:pt idx="21">
                  <c:v>428.74636919809194</c:v>
                </c:pt>
                <c:pt idx="22">
                  <c:v>430.270174122311</c:v>
                </c:pt>
                <c:pt idx="23">
                  <c:v>430.26801677697034</c:v>
                </c:pt>
                <c:pt idx="24">
                  <c:v>431.79182170118958</c:v>
                </c:pt>
                <c:pt idx="25">
                  <c:v>431.78966435585232</c:v>
                </c:pt>
                <c:pt idx="26">
                  <c:v>433.31346928007099</c:v>
                </c:pt>
                <c:pt idx="27">
                  <c:v>433.311311934733</c:v>
                </c:pt>
                <c:pt idx="28">
                  <c:v>434.83511685894905</c:v>
                </c:pt>
                <c:pt idx="29">
                  <c:v>434.83295951361299</c:v>
                </c:pt>
                <c:pt idx="30">
                  <c:v>436.356764437832</c:v>
                </c:pt>
                <c:pt idx="31">
                  <c:v>436.35460709249298</c:v>
                </c:pt>
                <c:pt idx="32">
                  <c:v>437.87841201671205</c:v>
                </c:pt>
                <c:pt idx="33">
                  <c:v>437.87625467137269</c:v>
                </c:pt>
                <c:pt idx="34">
                  <c:v>439.40005959559193</c:v>
                </c:pt>
                <c:pt idx="35">
                  <c:v>439.39790225025303</c:v>
                </c:pt>
                <c:pt idx="36">
                  <c:v>440.92026894424464</c:v>
                </c:pt>
                <c:pt idx="37">
                  <c:v>441.67893538834801</c:v>
                </c:pt>
                <c:pt idx="38">
                  <c:v>442.441916523126</c:v>
                </c:pt>
                <c:pt idx="39">
                  <c:v>443.20058296722681</c:v>
                </c:pt>
                <c:pt idx="40">
                  <c:v>443.96356410200599</c:v>
                </c:pt>
                <c:pt idx="41">
                  <c:v>444.72223054610669</c:v>
                </c:pt>
                <c:pt idx="42">
                  <c:v>445.48521168088695</c:v>
                </c:pt>
                <c:pt idx="43">
                  <c:v>446.24387812498838</c:v>
                </c:pt>
                <c:pt idx="44">
                  <c:v>447.006859259767</c:v>
                </c:pt>
                <c:pt idx="45">
                  <c:v>447.76552570386798</c:v>
                </c:pt>
                <c:pt idx="46">
                  <c:v>448.52850683864699</c:v>
                </c:pt>
                <c:pt idx="47">
                  <c:v>449.28717328274769</c:v>
                </c:pt>
                <c:pt idx="48">
                  <c:v>450.05015441752693</c:v>
                </c:pt>
                <c:pt idx="49">
                  <c:v>450.80882086162802</c:v>
                </c:pt>
                <c:pt idx="50">
                  <c:v>451.57180199640698</c:v>
                </c:pt>
                <c:pt idx="51">
                  <c:v>451.95005654578893</c:v>
                </c:pt>
                <c:pt idx="52">
                  <c:v>453.22049324523169</c:v>
                </c:pt>
                <c:pt idx="53">
                  <c:v>454.61653538439299</c:v>
                </c:pt>
                <c:pt idx="54">
                  <c:v>454.61437803905613</c:v>
                </c:pt>
                <c:pt idx="55">
                  <c:v>456.1381829632715</c:v>
                </c:pt>
                <c:pt idx="56">
                  <c:v>456.13602561793499</c:v>
                </c:pt>
                <c:pt idx="57">
                  <c:v>457.659830542154</c:v>
                </c:pt>
                <c:pt idx="58">
                  <c:v>457.65767319681709</c:v>
                </c:pt>
                <c:pt idx="59">
                  <c:v>459.18147812103405</c:v>
                </c:pt>
                <c:pt idx="60">
                  <c:v>459.17932077569469</c:v>
                </c:pt>
                <c:pt idx="61">
                  <c:v>460.83016936985808</c:v>
                </c:pt>
                <c:pt idx="62">
                  <c:v>460.32055645985503</c:v>
                </c:pt>
                <c:pt idx="63">
                  <c:v>462.22621150901881</c:v>
                </c:pt>
                <c:pt idx="64">
                  <c:v>462.22405416368099</c:v>
                </c:pt>
                <c:pt idx="65">
                  <c:v>463.7478590879</c:v>
                </c:pt>
                <c:pt idx="66">
                  <c:v>463.74570174256093</c:v>
                </c:pt>
                <c:pt idx="67">
                  <c:v>465.39655033672398</c:v>
                </c:pt>
                <c:pt idx="68">
                  <c:v>464.88693742672069</c:v>
                </c:pt>
                <c:pt idx="69">
                  <c:v>466.79259247588487</c:v>
                </c:pt>
                <c:pt idx="70">
                  <c:v>466.790435130547</c:v>
                </c:pt>
                <c:pt idx="71">
                  <c:v>468.44128372471107</c:v>
                </c:pt>
                <c:pt idx="72">
                  <c:v>467.93167081470705</c:v>
                </c:pt>
                <c:pt idx="73">
                  <c:v>469.83732586387197</c:v>
                </c:pt>
                <c:pt idx="74">
                  <c:v>469.83516851853199</c:v>
                </c:pt>
                <c:pt idx="75">
                  <c:v>471.36041167297799</c:v>
                </c:pt>
                <c:pt idx="76">
                  <c:v>471.35825432763897</c:v>
                </c:pt>
                <c:pt idx="77">
                  <c:v>472.88349748208265</c:v>
                </c:pt>
                <c:pt idx="78">
                  <c:v>472.88098057918904</c:v>
                </c:pt>
                <c:pt idx="79">
                  <c:v>474.53194902587069</c:v>
                </c:pt>
                <c:pt idx="80">
                  <c:v>474.02257582090499</c:v>
                </c:pt>
                <c:pt idx="81">
                  <c:v>476.05503483497705</c:v>
                </c:pt>
                <c:pt idx="82">
                  <c:v>475.54566163001317</c:v>
                </c:pt>
                <c:pt idx="83">
                  <c:v>477.57812064408199</c:v>
                </c:pt>
                <c:pt idx="84">
                  <c:v>477.06874743911698</c:v>
                </c:pt>
                <c:pt idx="85">
                  <c:v>479.10120645318869</c:v>
                </c:pt>
                <c:pt idx="86">
                  <c:v>478.59183324822084</c:v>
                </c:pt>
                <c:pt idx="87">
                  <c:v>480.62429226229381</c:v>
                </c:pt>
                <c:pt idx="88">
                  <c:v>480.11491905732896</c:v>
                </c:pt>
                <c:pt idx="89">
                  <c:v>482.1473780714</c:v>
                </c:pt>
                <c:pt idx="90">
                  <c:v>481.63800486643493</c:v>
                </c:pt>
                <c:pt idx="91">
                  <c:v>483.670703585544</c:v>
                </c:pt>
                <c:pt idx="92">
                  <c:v>483.16109067554208</c:v>
                </c:pt>
                <c:pt idx="93">
                  <c:v>485.06818395493099</c:v>
                </c:pt>
                <c:pt idx="94">
                  <c:v>485.06566705203602</c:v>
                </c:pt>
                <c:pt idx="95">
                  <c:v>486.71807372894369</c:v>
                </c:pt>
                <c:pt idx="96">
                  <c:v>486.20798140886598</c:v>
                </c:pt>
                <c:pt idx="97">
                  <c:v>488.24139924308656</c:v>
                </c:pt>
                <c:pt idx="98">
                  <c:v>487.73178633308493</c:v>
                </c:pt>
                <c:pt idx="99">
                  <c:v>489.76568357738205</c:v>
                </c:pt>
                <c:pt idx="100">
                  <c:v>489.25559125730263</c:v>
                </c:pt>
                <c:pt idx="101">
                  <c:v>491.28876938648699</c:v>
                </c:pt>
                <c:pt idx="102">
                  <c:v>490.77939618152197</c:v>
                </c:pt>
                <c:pt idx="103">
                  <c:v>492.81329342581898</c:v>
                </c:pt>
                <c:pt idx="104">
                  <c:v>492.30320110574257</c:v>
                </c:pt>
                <c:pt idx="105">
                  <c:v>494.21101350024259</c:v>
                </c:pt>
                <c:pt idx="106">
                  <c:v>494.20849659734898</c:v>
                </c:pt>
                <c:pt idx="107">
                  <c:v>495.73373975179169</c:v>
                </c:pt>
                <c:pt idx="108">
                  <c:v>497.38542731358905</c:v>
                </c:pt>
                <c:pt idx="109">
                  <c:v>496.87605410862199</c:v>
                </c:pt>
                <c:pt idx="110">
                  <c:v>498.90995135292093</c:v>
                </c:pt>
                <c:pt idx="111">
                  <c:v>498.39985903284202</c:v>
                </c:pt>
                <c:pt idx="112">
                  <c:v>500.43447539225195</c:v>
                </c:pt>
                <c:pt idx="113">
                  <c:v>500.30443540933902</c:v>
                </c:pt>
                <c:pt idx="114">
                  <c:v>501.95899943158258</c:v>
                </c:pt>
                <c:pt idx="115">
                  <c:v>501.82895944866681</c:v>
                </c:pt>
                <c:pt idx="116">
                  <c:v>501.44674976616699</c:v>
                </c:pt>
                <c:pt idx="117">
                  <c:v>503.48352347091458</c:v>
                </c:pt>
                <c:pt idx="118">
                  <c:v>503.35348348800102</c:v>
                </c:pt>
                <c:pt idx="119">
                  <c:v>502.97127380549864</c:v>
                </c:pt>
                <c:pt idx="120">
                  <c:v>505.00804751024697</c:v>
                </c:pt>
                <c:pt idx="121">
                  <c:v>504.87800752733301</c:v>
                </c:pt>
                <c:pt idx="122">
                  <c:v>504.49579784482899</c:v>
                </c:pt>
                <c:pt idx="123">
                  <c:v>506.53257154957788</c:v>
                </c:pt>
                <c:pt idx="124">
                  <c:v>506.40253156666364</c:v>
                </c:pt>
                <c:pt idx="125">
                  <c:v>506.020321884162</c:v>
                </c:pt>
                <c:pt idx="126">
                  <c:v>508.05709558891101</c:v>
                </c:pt>
                <c:pt idx="127">
                  <c:v>507.92705560599569</c:v>
                </c:pt>
                <c:pt idx="128">
                  <c:v>507.54484592349513</c:v>
                </c:pt>
                <c:pt idx="129">
                  <c:v>509.58161962824181</c:v>
                </c:pt>
                <c:pt idx="130">
                  <c:v>509.45157964532763</c:v>
                </c:pt>
                <c:pt idx="131">
                  <c:v>509.06936996282599</c:v>
                </c:pt>
                <c:pt idx="132">
                  <c:v>511.10614366757369</c:v>
                </c:pt>
                <c:pt idx="133">
                  <c:v>510.59605134749387</c:v>
                </c:pt>
                <c:pt idx="134">
                  <c:v>510.59389400215696</c:v>
                </c:pt>
                <c:pt idx="135">
                  <c:v>512.63210593713302</c:v>
                </c:pt>
                <c:pt idx="136">
                  <c:v>512.50206595421696</c:v>
                </c:pt>
                <c:pt idx="137">
                  <c:v>512.11985627171555</c:v>
                </c:pt>
                <c:pt idx="138">
                  <c:v>514.15662997646291</c:v>
                </c:pt>
                <c:pt idx="139">
                  <c:v>514.02658999354799</c:v>
                </c:pt>
                <c:pt idx="140">
                  <c:v>513.64438031104805</c:v>
                </c:pt>
                <c:pt idx="141">
                  <c:v>515.55435005088952</c:v>
                </c:pt>
                <c:pt idx="142">
                  <c:v>515.55147359043701</c:v>
                </c:pt>
                <c:pt idx="143">
                  <c:v>515.16890435037851</c:v>
                </c:pt>
                <c:pt idx="144">
                  <c:v>516.44485426568804</c:v>
                </c:pt>
                <c:pt idx="145">
                  <c:v>517.07599762976895</c:v>
                </c:pt>
                <c:pt idx="146">
                  <c:v>517.96937830501849</c:v>
                </c:pt>
                <c:pt idx="147">
                  <c:v>517.83933832210403</c:v>
                </c:pt>
                <c:pt idx="148">
                  <c:v>519.36709837944238</c:v>
                </c:pt>
                <c:pt idx="149">
                  <c:v>519.3645814765481</c:v>
                </c:pt>
                <c:pt idx="150">
                  <c:v>518.98165267893307</c:v>
                </c:pt>
                <c:pt idx="151">
                  <c:v>520.25760259424146</c:v>
                </c:pt>
                <c:pt idx="152">
                  <c:v>520.88874595832829</c:v>
                </c:pt>
                <c:pt idx="153">
                  <c:v>521.65532266866853</c:v>
                </c:pt>
                <c:pt idx="154">
                  <c:v>521.65280576577197</c:v>
                </c:pt>
                <c:pt idx="155">
                  <c:v>522.54582688346079</c:v>
                </c:pt>
                <c:pt idx="156">
                  <c:v>522.7958392377177</c:v>
                </c:pt>
                <c:pt idx="157">
                  <c:v>524.07178915302302</c:v>
                </c:pt>
                <c:pt idx="158">
                  <c:v>523.94138961255203</c:v>
                </c:pt>
                <c:pt idx="159">
                  <c:v>523.55882037249307</c:v>
                </c:pt>
                <c:pt idx="160">
                  <c:v>525.46950922744793</c:v>
                </c:pt>
                <c:pt idx="161">
                  <c:v>525.46663276699599</c:v>
                </c:pt>
                <c:pt idx="162">
                  <c:v>525.08406352693805</c:v>
                </c:pt>
                <c:pt idx="163">
                  <c:v>526.36001344224314</c:v>
                </c:pt>
                <c:pt idx="164">
                  <c:v>526.61002579649448</c:v>
                </c:pt>
                <c:pt idx="165">
                  <c:v>527.88597571180401</c:v>
                </c:pt>
                <c:pt idx="166">
                  <c:v>527.75557617133302</c:v>
                </c:pt>
                <c:pt idx="167">
                  <c:v>527.37300693127395</c:v>
                </c:pt>
                <c:pt idx="168">
                  <c:v>529.28369578622903</c:v>
                </c:pt>
                <c:pt idx="169">
                  <c:v>529.28081932577754</c:v>
                </c:pt>
                <c:pt idx="170">
                  <c:v>528.89825008571552</c:v>
                </c:pt>
                <c:pt idx="171">
                  <c:v>530.17420000102754</c:v>
                </c:pt>
                <c:pt idx="172">
                  <c:v>530.42421235527547</c:v>
                </c:pt>
                <c:pt idx="173">
                  <c:v>531.70016227058738</c:v>
                </c:pt>
                <c:pt idx="174">
                  <c:v>531.57012228767053</c:v>
                </c:pt>
                <c:pt idx="175">
                  <c:v>531.18719349005448</c:v>
                </c:pt>
                <c:pt idx="176">
                  <c:v>533.09932057523554</c:v>
                </c:pt>
                <c:pt idx="177">
                  <c:v>533.09644411478348</c:v>
                </c:pt>
                <c:pt idx="178">
                  <c:v>532.71315575961353</c:v>
                </c:pt>
                <c:pt idx="179">
                  <c:v>533.98982479003348</c:v>
                </c:pt>
                <c:pt idx="180">
                  <c:v>534.23911802917053</c:v>
                </c:pt>
                <c:pt idx="181">
                  <c:v>535.51578705959355</c:v>
                </c:pt>
                <c:pt idx="182">
                  <c:v>535.38538751912336</c:v>
                </c:pt>
                <c:pt idx="183">
                  <c:v>535.00281827906304</c:v>
                </c:pt>
                <c:pt idx="184">
                  <c:v>537.04174932914952</c:v>
                </c:pt>
                <c:pt idx="185">
                  <c:v>536.91170934623403</c:v>
                </c:pt>
                <c:pt idx="186">
                  <c:v>536.52878054862413</c:v>
                </c:pt>
                <c:pt idx="187">
                  <c:v>538.44090763379938</c:v>
                </c:pt>
                <c:pt idx="188">
                  <c:v>538.43803117334801</c:v>
                </c:pt>
                <c:pt idx="189">
                  <c:v>538.05474281817851</c:v>
                </c:pt>
                <c:pt idx="190">
                  <c:v>539.3314118485979</c:v>
                </c:pt>
                <c:pt idx="191">
                  <c:v>539.58070508773403</c:v>
                </c:pt>
                <c:pt idx="192">
                  <c:v>540.85737411815501</c:v>
                </c:pt>
                <c:pt idx="193">
                  <c:v>540.72697457768913</c:v>
                </c:pt>
                <c:pt idx="194">
                  <c:v>540.34440533762495</c:v>
                </c:pt>
                <c:pt idx="195">
                  <c:v>542.256532422806</c:v>
                </c:pt>
                <c:pt idx="196">
                  <c:v>542.25365596235554</c:v>
                </c:pt>
                <c:pt idx="197">
                  <c:v>541.87036760718354</c:v>
                </c:pt>
                <c:pt idx="198">
                  <c:v>543.14703663760554</c:v>
                </c:pt>
                <c:pt idx="199">
                  <c:v>543.39632987673997</c:v>
                </c:pt>
                <c:pt idx="200">
                  <c:v>544.54475671202999</c:v>
                </c:pt>
                <c:pt idx="201">
                  <c:v>544.54188025157805</c:v>
                </c:pt>
                <c:pt idx="202">
                  <c:v>544.15931101151898</c:v>
                </c:pt>
                <c:pt idx="203">
                  <c:v>545.30845696192102</c:v>
                </c:pt>
                <c:pt idx="204">
                  <c:v>546.19896117671954</c:v>
                </c:pt>
                <c:pt idx="205">
                  <c:v>545.68599239619323</c:v>
                </c:pt>
                <c:pt idx="206">
                  <c:v>546.44897353096803</c:v>
                </c:pt>
                <c:pt idx="207">
                  <c:v>547.72492344627801</c:v>
                </c:pt>
                <c:pt idx="208">
                  <c:v>547.594523905806</c:v>
                </c:pt>
                <c:pt idx="209">
                  <c:v>547.21195466574704</c:v>
                </c:pt>
                <c:pt idx="210">
                  <c:v>549.25088571583399</c:v>
                </c:pt>
                <c:pt idx="211">
                  <c:v>549.120486175363</c:v>
                </c:pt>
                <c:pt idx="212">
                  <c:v>548.73791693530438</c:v>
                </c:pt>
                <c:pt idx="213">
                  <c:v>550.77684798539303</c:v>
                </c:pt>
                <c:pt idx="214">
                  <c:v>550.64644844491875</c:v>
                </c:pt>
                <c:pt idx="215">
                  <c:v>550.26387920486354</c:v>
                </c:pt>
                <c:pt idx="216">
                  <c:v>552.17456805981851</c:v>
                </c:pt>
                <c:pt idx="217">
                  <c:v>552.17169159936554</c:v>
                </c:pt>
                <c:pt idx="218">
                  <c:v>551.78912235930852</c:v>
                </c:pt>
                <c:pt idx="219">
                  <c:v>553.06507227461555</c:v>
                </c:pt>
                <c:pt idx="220">
                  <c:v>553.69621563869805</c:v>
                </c:pt>
                <c:pt idx="221">
                  <c:v>554.58959631394703</c:v>
                </c:pt>
                <c:pt idx="222">
                  <c:v>554.45955633103199</c:v>
                </c:pt>
                <c:pt idx="223">
                  <c:v>556.11555858350346</c:v>
                </c:pt>
                <c:pt idx="224">
                  <c:v>555.60546626342602</c:v>
                </c:pt>
                <c:pt idx="225">
                  <c:v>555.60258980297249</c:v>
                </c:pt>
                <c:pt idx="226">
                  <c:v>557.64008262283653</c:v>
                </c:pt>
                <c:pt idx="227">
                  <c:v>557.51004263992195</c:v>
                </c:pt>
                <c:pt idx="228">
                  <c:v>557.12783295741895</c:v>
                </c:pt>
                <c:pt idx="229">
                  <c:v>559.16460666216801</c:v>
                </c:pt>
                <c:pt idx="230">
                  <c:v>559.03456667925309</c:v>
                </c:pt>
                <c:pt idx="231">
                  <c:v>558.652356996751</c:v>
                </c:pt>
                <c:pt idx="232">
                  <c:v>560.68913070149995</c:v>
                </c:pt>
                <c:pt idx="233">
                  <c:v>560.55909071858503</c:v>
                </c:pt>
                <c:pt idx="234">
                  <c:v>560.17688103608657</c:v>
                </c:pt>
                <c:pt idx="235">
                  <c:v>562.21365474083154</c:v>
                </c:pt>
                <c:pt idx="236">
                  <c:v>562.08361475791753</c:v>
                </c:pt>
                <c:pt idx="237">
                  <c:v>561.70140507541396</c:v>
                </c:pt>
                <c:pt idx="238">
                  <c:v>563.611374815256</c:v>
                </c:pt>
                <c:pt idx="239">
                  <c:v>563.60849835480553</c:v>
                </c:pt>
                <c:pt idx="240">
                  <c:v>563.22592911474339</c:v>
                </c:pt>
                <c:pt idx="241">
                  <c:v>565.26126458926797</c:v>
                </c:pt>
                <c:pt idx="242">
                  <c:v>564.75117226919463</c:v>
                </c:pt>
                <c:pt idx="243">
                  <c:v>566.78435039837836</c:v>
                </c:pt>
                <c:pt idx="244">
                  <c:v>566.27497719341</c:v>
                </c:pt>
                <c:pt idx="245">
                  <c:v>568.18207047280055</c:v>
                </c:pt>
                <c:pt idx="246">
                  <c:v>568.17955356990774</c:v>
                </c:pt>
                <c:pt idx="247">
                  <c:v>569.70515628190606</c:v>
                </c:pt>
                <c:pt idx="248">
                  <c:v>569.70263937901154</c:v>
                </c:pt>
                <c:pt idx="249">
                  <c:v>571.22824209101202</c:v>
                </c:pt>
                <c:pt idx="250">
                  <c:v>571.22572518811705</c:v>
                </c:pt>
                <c:pt idx="251">
                  <c:v>572.87693333983805</c:v>
                </c:pt>
                <c:pt idx="252">
                  <c:v>572.36732042983249</c:v>
                </c:pt>
                <c:pt idx="253">
                  <c:v>574.27297547899855</c:v>
                </c:pt>
                <c:pt idx="254">
                  <c:v>574.27081813365953</c:v>
                </c:pt>
                <c:pt idx="255">
                  <c:v>575.79462305787854</c:v>
                </c:pt>
                <c:pt idx="256">
                  <c:v>575.79246571253998</c:v>
                </c:pt>
                <c:pt idx="257">
                  <c:v>577.31627063675808</c:v>
                </c:pt>
                <c:pt idx="258">
                  <c:v>577.31411329141747</c:v>
                </c:pt>
                <c:pt idx="259">
                  <c:v>578.83791821563796</c:v>
                </c:pt>
                <c:pt idx="260">
                  <c:v>578.83576087029996</c:v>
                </c:pt>
                <c:pt idx="261">
                  <c:v>580.35884667940604</c:v>
                </c:pt>
                <c:pt idx="262">
                  <c:v>580.35632977651096</c:v>
                </c:pt>
                <c:pt idx="263">
                  <c:v>581.87977514317549</c:v>
                </c:pt>
                <c:pt idx="264">
                  <c:v>581.87725824027791</c:v>
                </c:pt>
                <c:pt idx="265">
                  <c:v>583.39998449182701</c:v>
                </c:pt>
                <c:pt idx="266">
                  <c:v>583.39746758893148</c:v>
                </c:pt>
                <c:pt idx="267">
                  <c:v>584.92019384048206</c:v>
                </c:pt>
                <c:pt idx="268">
                  <c:v>584.9173173800275</c:v>
                </c:pt>
                <c:pt idx="269">
                  <c:v>586.43968407402292</c:v>
                </c:pt>
                <c:pt idx="270">
                  <c:v>586.436807613572</c:v>
                </c:pt>
                <c:pt idx="271">
                  <c:v>587.95845519244926</c:v>
                </c:pt>
                <c:pt idx="272">
                  <c:v>587.57588595239622</c:v>
                </c:pt>
                <c:pt idx="273">
                  <c:v>589.47327117776126</c:v>
                </c:pt>
                <c:pt idx="274">
                  <c:v>590.23157806430402</c:v>
                </c:pt>
                <c:pt idx="275">
                  <c:v>590.99455919908291</c:v>
                </c:pt>
                <c:pt idx="276">
                  <c:v>591.11632935819955</c:v>
                </c:pt>
                <c:pt idx="277">
                  <c:v>591.74639404961351</c:v>
                </c:pt>
                <c:pt idx="278">
                  <c:v>592.132199307679</c:v>
                </c:pt>
                <c:pt idx="279">
                  <c:v>592.50973474194802</c:v>
                </c:pt>
                <c:pt idx="280">
                  <c:v>592.50434137860475</c:v>
                </c:pt>
                <c:pt idx="281">
                  <c:v>593.26768207093596</c:v>
                </c:pt>
                <c:pt idx="282">
                  <c:v>593.26228870758848</c:v>
                </c:pt>
                <c:pt idx="283">
                  <c:v>594.02562939992094</c:v>
                </c:pt>
                <c:pt idx="284">
                  <c:v>594.01987647902354</c:v>
                </c:pt>
                <c:pt idx="285">
                  <c:v>594.78357672891354</c:v>
                </c:pt>
                <c:pt idx="286">
                  <c:v>594.77782380801</c:v>
                </c:pt>
                <c:pt idx="287">
                  <c:v>595.5408049427881</c:v>
                </c:pt>
                <c:pt idx="288">
                  <c:v>595.66257510190246</c:v>
                </c:pt>
                <c:pt idx="289">
                  <c:v>595.15320189693796</c:v>
                </c:pt>
                <c:pt idx="290">
                  <c:v>596.29228023576104</c:v>
                </c:pt>
                <c:pt idx="291">
                  <c:v>596.67844505138817</c:v>
                </c:pt>
                <c:pt idx="292">
                  <c:v>597.05526137053846</c:v>
                </c:pt>
                <c:pt idx="293">
                  <c:v>597.17703152965998</c:v>
                </c:pt>
                <c:pt idx="294">
                  <c:v>597.80673666351254</c:v>
                </c:pt>
                <c:pt idx="295">
                  <c:v>598.19290147913762</c:v>
                </c:pt>
                <c:pt idx="296">
                  <c:v>598.56971779829098</c:v>
                </c:pt>
                <c:pt idx="297">
                  <c:v>598.69148795740853</c:v>
                </c:pt>
                <c:pt idx="298">
                  <c:v>599.3211930912604</c:v>
                </c:pt>
                <c:pt idx="299">
                  <c:v>599.70735790688855</c:v>
                </c:pt>
                <c:pt idx="300">
                  <c:v>600.08417422604566</c:v>
                </c:pt>
                <c:pt idx="301">
                  <c:v>600.205944385159</c:v>
                </c:pt>
                <c:pt idx="302">
                  <c:v>599.69657118019302</c:v>
                </c:pt>
                <c:pt idx="303">
                  <c:v>600.83564951901349</c:v>
                </c:pt>
                <c:pt idx="304">
                  <c:v>601.221814334638</c:v>
                </c:pt>
                <c:pt idx="305">
                  <c:v>601.59863065379352</c:v>
                </c:pt>
                <c:pt idx="306">
                  <c:v>601.72040081290947</c:v>
                </c:pt>
                <c:pt idx="307">
                  <c:v>601.21102760794349</c:v>
                </c:pt>
                <c:pt idx="308">
                  <c:v>602.47690991167303</c:v>
                </c:pt>
                <c:pt idx="309">
                  <c:v>601.96753670670648</c:v>
                </c:pt>
                <c:pt idx="310">
                  <c:v>602.73483253216705</c:v>
                </c:pt>
                <c:pt idx="311">
                  <c:v>603.10661504552797</c:v>
                </c:pt>
                <c:pt idx="312">
                  <c:v>603.49277986115305</c:v>
                </c:pt>
                <c:pt idx="313">
                  <c:v>603.86959618030414</c:v>
                </c:pt>
                <c:pt idx="314">
                  <c:v>603.99136633942396</c:v>
                </c:pt>
                <c:pt idx="315">
                  <c:v>603.48199313445798</c:v>
                </c:pt>
                <c:pt idx="316">
                  <c:v>604.74787543818854</c:v>
                </c:pt>
                <c:pt idx="317">
                  <c:v>604.23850223322154</c:v>
                </c:pt>
                <c:pt idx="318">
                  <c:v>605.00579805868006</c:v>
                </c:pt>
                <c:pt idx="319">
                  <c:v>605.50438453695222</c:v>
                </c:pt>
                <c:pt idx="320">
                  <c:v>604.99501133198396</c:v>
                </c:pt>
                <c:pt idx="321">
                  <c:v>605.76230715743998</c:v>
                </c:pt>
                <c:pt idx="322">
                  <c:v>606.13408967080738</c:v>
                </c:pt>
                <c:pt idx="323">
                  <c:v>606.13157276791003</c:v>
                </c:pt>
                <c:pt idx="324">
                  <c:v>606.52025448642746</c:v>
                </c:pt>
                <c:pt idx="325">
                  <c:v>606.89707080558298</c:v>
                </c:pt>
                <c:pt idx="326">
                  <c:v>607.01596450424847</c:v>
                </c:pt>
                <c:pt idx="327">
                  <c:v>607.27388712473953</c:v>
                </c:pt>
                <c:pt idx="328">
                  <c:v>607.64566963810501</c:v>
                </c:pt>
                <c:pt idx="329">
                  <c:v>608.03183445372792</c:v>
                </c:pt>
                <c:pt idx="330">
                  <c:v>608.40936988799649</c:v>
                </c:pt>
                <c:pt idx="331">
                  <c:v>608.40361696709351</c:v>
                </c:pt>
                <c:pt idx="332">
                  <c:v>608.40110006419809</c:v>
                </c:pt>
                <c:pt idx="333">
                  <c:v>609.16659810187139</c:v>
                </c:pt>
                <c:pt idx="334">
                  <c:v>609.28549180053801</c:v>
                </c:pt>
                <c:pt idx="335">
                  <c:v>609.92310720063495</c:v>
                </c:pt>
                <c:pt idx="336">
                  <c:v>610.04200089929748</c:v>
                </c:pt>
                <c:pt idx="337">
                  <c:v>610.67961629939805</c:v>
                </c:pt>
                <c:pt idx="338">
                  <c:v>610.79850999806354</c:v>
                </c:pt>
                <c:pt idx="339">
                  <c:v>611.43612539815797</c:v>
                </c:pt>
                <c:pt idx="340">
                  <c:v>611.55501909682448</c:v>
                </c:pt>
                <c:pt idx="341">
                  <c:v>612.19263449692289</c:v>
                </c:pt>
                <c:pt idx="342">
                  <c:v>612.31152819558349</c:v>
                </c:pt>
                <c:pt idx="343">
                  <c:v>612.949143595686</c:v>
                </c:pt>
                <c:pt idx="344">
                  <c:v>613.06803729435001</c:v>
                </c:pt>
                <c:pt idx="345">
                  <c:v>613.70565269444796</c:v>
                </c:pt>
                <c:pt idx="346">
                  <c:v>613.82454639311288</c:v>
                </c:pt>
                <c:pt idx="347">
                  <c:v>614.46216179320527</c:v>
                </c:pt>
                <c:pt idx="348">
                  <c:v>614.58105549187599</c:v>
                </c:pt>
                <c:pt idx="349">
                  <c:v>615.21867089197406</c:v>
                </c:pt>
                <c:pt idx="350">
                  <c:v>615.33756459063738</c:v>
                </c:pt>
                <c:pt idx="351">
                  <c:v>615.97517999073602</c:v>
                </c:pt>
                <c:pt idx="352">
                  <c:v>615.96834839716405</c:v>
                </c:pt>
                <c:pt idx="353">
                  <c:v>616.73168908949799</c:v>
                </c:pt>
                <c:pt idx="354">
                  <c:v>616.85345924861804</c:v>
                </c:pt>
                <c:pt idx="355">
                  <c:v>616.34408604365001</c:v>
                </c:pt>
                <c:pt idx="356">
                  <c:v>617.60996834737853</c:v>
                </c:pt>
                <c:pt idx="357">
                  <c:v>617.86789096786902</c:v>
                </c:pt>
                <c:pt idx="358">
                  <c:v>618.23967348123347</c:v>
                </c:pt>
                <c:pt idx="359">
                  <c:v>618.62583829685855</c:v>
                </c:pt>
                <c:pt idx="360">
                  <c:v>619.00265461601293</c:v>
                </c:pt>
                <c:pt idx="361">
                  <c:v>619.12442477513002</c:v>
                </c:pt>
                <c:pt idx="362">
                  <c:v>619.88093387389301</c:v>
                </c:pt>
                <c:pt idx="363">
                  <c:v>620.13885649438294</c:v>
                </c:pt>
                <c:pt idx="364">
                  <c:v>620.51063900774795</c:v>
                </c:pt>
                <c:pt idx="365">
                  <c:v>620.89680382337201</c:v>
                </c:pt>
                <c:pt idx="366">
                  <c:v>621.27362014252753</c:v>
                </c:pt>
                <c:pt idx="367">
                  <c:v>621.39539030164451</c:v>
                </c:pt>
                <c:pt idx="368">
                  <c:v>622.02545499305597</c:v>
                </c:pt>
                <c:pt idx="369">
                  <c:v>622.41126025112294</c:v>
                </c:pt>
                <c:pt idx="370">
                  <c:v>622.78879568539355</c:v>
                </c:pt>
                <c:pt idx="371">
                  <c:v>622.78304276448853</c:v>
                </c:pt>
                <c:pt idx="372">
                  <c:v>623.54602389926379</c:v>
                </c:pt>
                <c:pt idx="373">
                  <c:v>623.66779405838304</c:v>
                </c:pt>
                <c:pt idx="374">
                  <c:v>624.29749919223798</c:v>
                </c:pt>
                <c:pt idx="375">
                  <c:v>624.68366400786351</c:v>
                </c:pt>
                <c:pt idx="376">
                  <c:v>625.06048032701801</c:v>
                </c:pt>
                <c:pt idx="377">
                  <c:v>625.18225048613499</c:v>
                </c:pt>
                <c:pt idx="378">
                  <c:v>625.81195561999039</c:v>
                </c:pt>
                <c:pt idx="379">
                  <c:v>626.19812043561399</c:v>
                </c:pt>
                <c:pt idx="380">
                  <c:v>626.57493675476951</c:v>
                </c:pt>
                <c:pt idx="381">
                  <c:v>626.69670691388853</c:v>
                </c:pt>
                <c:pt idx="382">
                  <c:v>627.32677160529795</c:v>
                </c:pt>
                <c:pt idx="383">
                  <c:v>627.71257686336503</c:v>
                </c:pt>
                <c:pt idx="384">
                  <c:v>628.09011229763303</c:v>
                </c:pt>
                <c:pt idx="385">
                  <c:v>628.08435937673335</c:v>
                </c:pt>
                <c:pt idx="386">
                  <c:v>628.84734051150849</c:v>
                </c:pt>
                <c:pt idx="387">
                  <c:v>628.96911067062501</c:v>
                </c:pt>
                <c:pt idx="388">
                  <c:v>629.59917536203852</c:v>
                </c:pt>
                <c:pt idx="389">
                  <c:v>629.98498062010822</c:v>
                </c:pt>
                <c:pt idx="390">
                  <c:v>630.36251605437246</c:v>
                </c:pt>
                <c:pt idx="391">
                  <c:v>630.35676313346687</c:v>
                </c:pt>
                <c:pt idx="392">
                  <c:v>631.11974426825282</c:v>
                </c:pt>
                <c:pt idx="393">
                  <c:v>631.24151442736502</c:v>
                </c:pt>
                <c:pt idx="394">
                  <c:v>631.87157911877807</c:v>
                </c:pt>
                <c:pt idx="395">
                  <c:v>632.25738437684674</c:v>
                </c:pt>
                <c:pt idx="396">
                  <c:v>632.63491981111292</c:v>
                </c:pt>
                <c:pt idx="397">
                  <c:v>632.62916689020699</c:v>
                </c:pt>
                <c:pt idx="398">
                  <c:v>633.39286714010098</c:v>
                </c:pt>
                <c:pt idx="399">
                  <c:v>633.387114219198</c:v>
                </c:pt>
                <c:pt idx="400">
                  <c:v>634.15009535397701</c:v>
                </c:pt>
                <c:pt idx="401">
                  <c:v>634.27186551309353</c:v>
                </c:pt>
                <c:pt idx="402">
                  <c:v>634.90193020450602</c:v>
                </c:pt>
                <c:pt idx="403">
                  <c:v>635.28773546257355</c:v>
                </c:pt>
                <c:pt idx="404">
                  <c:v>635.66527089684098</c:v>
                </c:pt>
                <c:pt idx="405">
                  <c:v>635.65987753349395</c:v>
                </c:pt>
                <c:pt idx="406">
                  <c:v>636.42321822583006</c:v>
                </c:pt>
                <c:pt idx="407">
                  <c:v>636.41782486248246</c:v>
                </c:pt>
                <c:pt idx="408">
                  <c:v>637.18116555481811</c:v>
                </c:pt>
                <c:pt idx="409">
                  <c:v>637.17577219147154</c:v>
                </c:pt>
                <c:pt idx="410">
                  <c:v>637.9391128838032</c:v>
                </c:pt>
                <c:pt idx="411">
                  <c:v>638.69706021279501</c:v>
                </c:pt>
                <c:pt idx="412">
                  <c:v>638.69418375234454</c:v>
                </c:pt>
                <c:pt idx="413">
                  <c:v>639.45213108133146</c:v>
                </c:pt>
                <c:pt idx="414">
                  <c:v>640.21511221611354</c:v>
                </c:pt>
                <c:pt idx="415">
                  <c:v>640.33688237522699</c:v>
                </c:pt>
                <c:pt idx="416">
                  <c:v>641.35275232470326</c:v>
                </c:pt>
                <c:pt idx="417">
                  <c:v>641.73028775897501</c:v>
                </c:pt>
                <c:pt idx="418">
                  <c:v>641.72741129852295</c:v>
                </c:pt>
                <c:pt idx="419">
                  <c:v>642.61216259241746</c:v>
                </c:pt>
                <c:pt idx="420">
                  <c:v>642.87008521290898</c:v>
                </c:pt>
                <c:pt idx="421">
                  <c:v>644.00772532150449</c:v>
                </c:pt>
                <c:pt idx="422">
                  <c:v>644.00484886105301</c:v>
                </c:pt>
                <c:pt idx="423">
                  <c:v>643.622998736108</c:v>
                </c:pt>
                <c:pt idx="424">
                  <c:v>644.76207707492847</c:v>
                </c:pt>
                <c:pt idx="425">
                  <c:v>645.14536543010104</c:v>
                </c:pt>
                <c:pt idx="426">
                  <c:v>645.64730777889895</c:v>
                </c:pt>
                <c:pt idx="427">
                  <c:v>647.04239109790797</c:v>
                </c:pt>
                <c:pt idx="428">
                  <c:v>647.03951463745898</c:v>
                </c:pt>
                <c:pt idx="429">
                  <c:v>647.92402622631755</c:v>
                </c:pt>
                <c:pt idx="430">
                  <c:v>648.56116221633897</c:v>
                </c:pt>
                <c:pt idx="431">
                  <c:v>649.44519439511839</c:v>
                </c:pt>
                <c:pt idx="432">
                  <c:v>649.31551396976295</c:v>
                </c:pt>
                <c:pt idx="433">
                  <c:v>650.83788066375598</c:v>
                </c:pt>
                <c:pt idx="434">
                  <c:v>650.83500420330449</c:v>
                </c:pt>
                <c:pt idx="435">
                  <c:v>651.71951579216204</c:v>
                </c:pt>
                <c:pt idx="436">
                  <c:v>652.35665178218187</c:v>
                </c:pt>
                <c:pt idx="437">
                  <c:v>653.24068396096754</c:v>
                </c:pt>
                <c:pt idx="438">
                  <c:v>652.73131075600304</c:v>
                </c:pt>
                <c:pt idx="439">
                  <c:v>654.63480845982804</c:v>
                </c:pt>
                <c:pt idx="440">
                  <c:v>654.63193199937655</c:v>
                </c:pt>
                <c:pt idx="441">
                  <c:v>656.15357957825927</c:v>
                </c:pt>
                <c:pt idx="442">
                  <c:v>656.15070311780505</c:v>
                </c:pt>
                <c:pt idx="443">
                  <c:v>657.67235069668823</c:v>
                </c:pt>
                <c:pt idx="444">
                  <c:v>657.66947423623355</c:v>
                </c:pt>
                <c:pt idx="445">
                  <c:v>659.19256004533838</c:v>
                </c:pt>
                <c:pt idx="446">
                  <c:v>659.18968358488803</c:v>
                </c:pt>
                <c:pt idx="447">
                  <c:v>658.807833459942</c:v>
                </c:pt>
                <c:pt idx="448">
                  <c:v>660.71133116376802</c:v>
                </c:pt>
                <c:pt idx="449">
                  <c:v>660.70845470331653</c:v>
                </c:pt>
                <c:pt idx="450">
                  <c:v>662.230821397309</c:v>
                </c:pt>
                <c:pt idx="451">
                  <c:v>662.22794493685853</c:v>
                </c:pt>
                <c:pt idx="452">
                  <c:v>663.75031163085305</c:v>
                </c:pt>
                <c:pt idx="453">
                  <c:v>663.74779472795603</c:v>
                </c:pt>
                <c:pt idx="454">
                  <c:v>665.27052097950775</c:v>
                </c:pt>
                <c:pt idx="455">
                  <c:v>665.26764451905308</c:v>
                </c:pt>
                <c:pt idx="456">
                  <c:v>666.79001121304805</c:v>
                </c:pt>
                <c:pt idx="457">
                  <c:v>666.78785386770801</c:v>
                </c:pt>
              </c:numCache>
            </c:numRef>
          </c:xVal>
          <c:yVal>
            <c:numRef>
              <c:f>'Visible Calculation'!$K$4:$K$461</c:f>
              <c:numCache>
                <c:formatCode>0</c:formatCode>
                <c:ptCount val="458"/>
                <c:pt idx="0">
                  <c:v>0.35901581734023152</c:v>
                </c:pt>
                <c:pt idx="1">
                  <c:v>0.35214826801210802</c:v>
                </c:pt>
                <c:pt idx="2">
                  <c:v>0.35670745782784741</c:v>
                </c:pt>
                <c:pt idx="3">
                  <c:v>0.35213388570985188</c:v>
                </c:pt>
                <c:pt idx="4">
                  <c:v>0.35439909831546224</c:v>
                </c:pt>
                <c:pt idx="5">
                  <c:v>0.3543799219124541</c:v>
                </c:pt>
                <c:pt idx="6">
                  <c:v>0.34751237258432932</c:v>
                </c:pt>
                <c:pt idx="7">
                  <c:v>0.35207156240006598</c:v>
                </c:pt>
                <c:pt idx="8">
                  <c:v>0.34749799028207218</c:v>
                </c:pt>
                <c:pt idx="9">
                  <c:v>0.34976320288768198</c:v>
                </c:pt>
                <c:pt idx="10">
                  <c:v>0.34974402648467101</c:v>
                </c:pt>
                <c:pt idx="11">
                  <c:v>0.34743566697228817</c:v>
                </c:pt>
                <c:pt idx="12">
                  <c:v>0.34741649056927865</c:v>
                </c:pt>
                <c:pt idx="13">
                  <c:v>0.35189897477297394</c:v>
                </c:pt>
                <c:pt idx="14">
                  <c:v>0.35187979836996447</c:v>
                </c:pt>
                <c:pt idx="15">
                  <c:v>0.34957143885757702</c:v>
                </c:pt>
                <c:pt idx="16">
                  <c:v>0.34955226245456805</c:v>
                </c:pt>
                <c:pt idx="17">
                  <c:v>0.34724390294218299</c:v>
                </c:pt>
                <c:pt idx="18">
                  <c:v>0.34267033082418702</c:v>
                </c:pt>
                <c:pt idx="19">
                  <c:v>0.34493554342979799</c:v>
                </c:pt>
                <c:pt idx="20">
                  <c:v>0.34491636702678941</c:v>
                </c:pt>
                <c:pt idx="21">
                  <c:v>0.33804881769866846</c:v>
                </c:pt>
                <c:pt idx="22">
                  <c:v>0.34489719062377699</c:v>
                </c:pt>
                <c:pt idx="23">
                  <c:v>0.3380296412956591</c:v>
                </c:pt>
                <c:pt idx="24">
                  <c:v>0.34487801422076864</c:v>
                </c:pt>
                <c:pt idx="25">
                  <c:v>0.33801046489264858</c:v>
                </c:pt>
                <c:pt idx="26">
                  <c:v>0.34485883781775817</c:v>
                </c:pt>
                <c:pt idx="27">
                  <c:v>0.33799128848963605</c:v>
                </c:pt>
                <c:pt idx="28">
                  <c:v>0.34483966141474753</c:v>
                </c:pt>
                <c:pt idx="29">
                  <c:v>0.33797211208662553</c:v>
                </c:pt>
                <c:pt idx="30">
                  <c:v>0.34482048501173618</c:v>
                </c:pt>
                <c:pt idx="31">
                  <c:v>0.3379529356836164</c:v>
                </c:pt>
                <c:pt idx="32">
                  <c:v>0.34480130860872499</c:v>
                </c:pt>
                <c:pt idx="33">
                  <c:v>0.33793375928060487</c:v>
                </c:pt>
                <c:pt idx="34">
                  <c:v>0.34478213220571402</c:v>
                </c:pt>
                <c:pt idx="35">
                  <c:v>0.33791458287759546</c:v>
                </c:pt>
                <c:pt idx="36">
                  <c:v>0.34018458958395753</c:v>
                </c:pt>
                <c:pt idx="37">
                  <c:v>0.33330745205432932</c:v>
                </c:pt>
                <c:pt idx="38">
                  <c:v>0.34016541318094717</c:v>
                </c:pt>
                <c:pt idx="39">
                  <c:v>0.33328827565132041</c:v>
                </c:pt>
                <c:pt idx="40">
                  <c:v>0.34014623677793493</c:v>
                </c:pt>
                <c:pt idx="41">
                  <c:v>0.33326909924830905</c:v>
                </c:pt>
                <c:pt idx="42">
                  <c:v>0.3401270603749264</c:v>
                </c:pt>
                <c:pt idx="43">
                  <c:v>0.33324992284529797</c:v>
                </c:pt>
                <c:pt idx="44">
                  <c:v>0.34010788397191438</c:v>
                </c:pt>
                <c:pt idx="45">
                  <c:v>0.33323074644228801</c:v>
                </c:pt>
                <c:pt idx="46">
                  <c:v>0.34008870756890547</c:v>
                </c:pt>
                <c:pt idx="47">
                  <c:v>0.33321157003927887</c:v>
                </c:pt>
                <c:pt idx="48">
                  <c:v>0.34006953116589506</c:v>
                </c:pt>
                <c:pt idx="49">
                  <c:v>0.33319239363626835</c:v>
                </c:pt>
                <c:pt idx="50">
                  <c:v>0.34005035476288298</c:v>
                </c:pt>
                <c:pt idx="51">
                  <c:v>0.33317801133401209</c:v>
                </c:pt>
                <c:pt idx="52">
                  <c:v>0.34079264136274717</c:v>
                </c:pt>
                <c:pt idx="53">
                  <c:v>0.34459036817561117</c:v>
                </c:pt>
                <c:pt idx="54">
                  <c:v>0.33772281884749034</c:v>
                </c:pt>
                <c:pt idx="55">
                  <c:v>0.34457119177259998</c:v>
                </c:pt>
                <c:pt idx="56">
                  <c:v>0.33770364244447798</c:v>
                </c:pt>
                <c:pt idx="57">
                  <c:v>0.3445520153695904</c:v>
                </c:pt>
                <c:pt idx="58">
                  <c:v>0.3376844660414694</c:v>
                </c:pt>
                <c:pt idx="59">
                  <c:v>0.34453283896657899</c:v>
                </c:pt>
                <c:pt idx="60">
                  <c:v>0.33766528963845888</c:v>
                </c:pt>
                <c:pt idx="61">
                  <c:v>0.34527512556644202</c:v>
                </c:pt>
                <c:pt idx="62">
                  <c:v>0.3376509073362004</c:v>
                </c:pt>
                <c:pt idx="63">
                  <c:v>0.34907285237930641</c:v>
                </c:pt>
                <c:pt idx="64">
                  <c:v>0.34220530305118374</c:v>
                </c:pt>
                <c:pt idx="65">
                  <c:v>0.34905367597629605</c:v>
                </c:pt>
                <c:pt idx="66">
                  <c:v>0.34218612664817299</c:v>
                </c:pt>
                <c:pt idx="67">
                  <c:v>0.34979596257615803</c:v>
                </c:pt>
                <c:pt idx="68">
                  <c:v>0.34217174434591502</c:v>
                </c:pt>
                <c:pt idx="69">
                  <c:v>0.35359368938902352</c:v>
                </c:pt>
                <c:pt idx="70">
                  <c:v>0.34672614006090002</c:v>
                </c:pt>
                <c:pt idx="71">
                  <c:v>0.35433597598888711</c:v>
                </c:pt>
                <c:pt idx="72">
                  <c:v>0.34671175775864232</c:v>
                </c:pt>
                <c:pt idx="73">
                  <c:v>0.358133702801749</c:v>
                </c:pt>
                <c:pt idx="74">
                  <c:v>0.351266153473627</c:v>
                </c:pt>
                <c:pt idx="75">
                  <c:v>0.36269289261748638</c:v>
                </c:pt>
                <c:pt idx="76">
                  <c:v>0.35582534328936594</c:v>
                </c:pt>
                <c:pt idx="77">
                  <c:v>0.36725208243322299</c:v>
                </c:pt>
                <c:pt idx="78">
                  <c:v>0.359239941550415</c:v>
                </c:pt>
                <c:pt idx="79">
                  <c:v>0.36723130799662801</c:v>
                </c:pt>
                <c:pt idx="80">
                  <c:v>0.3603701508028464</c:v>
                </c:pt>
                <c:pt idx="81">
                  <c:v>0.37179049781236717</c:v>
                </c:pt>
                <c:pt idx="82">
                  <c:v>0.36492934061858101</c:v>
                </c:pt>
                <c:pt idx="83">
                  <c:v>0.37634968762810406</c:v>
                </c:pt>
                <c:pt idx="84">
                  <c:v>0.36948853043431917</c:v>
                </c:pt>
                <c:pt idx="85">
                  <c:v>0.38090887744384316</c:v>
                </c:pt>
                <c:pt idx="86">
                  <c:v>0.37404772025005717</c:v>
                </c:pt>
                <c:pt idx="87">
                  <c:v>0.38546806725958116</c:v>
                </c:pt>
                <c:pt idx="88">
                  <c:v>0.37860691006579406</c:v>
                </c:pt>
                <c:pt idx="89">
                  <c:v>0.39002725707531538</c:v>
                </c:pt>
                <c:pt idx="90">
                  <c:v>0.38316609988153105</c:v>
                </c:pt>
                <c:pt idx="91">
                  <c:v>0.39534950792751211</c:v>
                </c:pt>
                <c:pt idx="92">
                  <c:v>0.38772528969726994</c:v>
                </c:pt>
                <c:pt idx="93">
                  <c:v>0.40372560095912202</c:v>
                </c:pt>
                <c:pt idx="94">
                  <c:v>0.39571346007631297</c:v>
                </c:pt>
                <c:pt idx="95">
                  <c:v>0.408283192741275</c:v>
                </c:pt>
                <c:pt idx="96">
                  <c:v>0.39913285243811603</c:v>
                </c:pt>
                <c:pt idx="97">
                  <c:v>0.41360544359347001</c:v>
                </c:pt>
                <c:pt idx="98">
                  <c:v>0.40598122536322817</c:v>
                </c:pt>
                <c:pt idx="99">
                  <c:v>0.42197993859149702</c:v>
                </c:pt>
                <c:pt idx="100">
                  <c:v>0.41282959828833798</c:v>
                </c:pt>
                <c:pt idx="101">
                  <c:v>0.42653912840723379</c:v>
                </c:pt>
                <c:pt idx="102">
                  <c:v>0.41967797121345246</c:v>
                </c:pt>
                <c:pt idx="103">
                  <c:v>0.43567668444171997</c:v>
                </c:pt>
                <c:pt idx="104">
                  <c:v>0.42652634413856205</c:v>
                </c:pt>
                <c:pt idx="105">
                  <c:v>0.44481583850978901</c:v>
                </c:pt>
                <c:pt idx="106">
                  <c:v>0.43680369762698124</c:v>
                </c:pt>
                <c:pt idx="107">
                  <c:v>0.44823043677083879</c:v>
                </c:pt>
                <c:pt idx="108">
                  <c:v>0.45851098632642817</c:v>
                </c:pt>
                <c:pt idx="109">
                  <c:v>0.45164982913264318</c:v>
                </c:pt>
                <c:pt idx="110">
                  <c:v>0.46764854236091202</c:v>
                </c:pt>
                <c:pt idx="111">
                  <c:v>0.45849820205775332</c:v>
                </c:pt>
                <c:pt idx="112">
                  <c:v>0.47678609839539698</c:v>
                </c:pt>
                <c:pt idx="113">
                  <c:v>0.46648637243679902</c:v>
                </c:pt>
                <c:pt idx="114">
                  <c:v>0.48592365442988306</c:v>
                </c:pt>
                <c:pt idx="115">
                  <c:v>0.47562392847128399</c:v>
                </c:pt>
                <c:pt idx="116">
                  <c:v>0.46990576479860341</c:v>
                </c:pt>
                <c:pt idx="117">
                  <c:v>0.49506121046436702</c:v>
                </c:pt>
                <c:pt idx="118">
                  <c:v>0.484761484505769</c:v>
                </c:pt>
                <c:pt idx="119">
                  <c:v>0.47904332083308693</c:v>
                </c:pt>
                <c:pt idx="120">
                  <c:v>0.50419876649885265</c:v>
                </c:pt>
                <c:pt idx="121">
                  <c:v>0.49389904054025402</c:v>
                </c:pt>
                <c:pt idx="122">
                  <c:v>0.48818087686757411</c:v>
                </c:pt>
                <c:pt idx="123">
                  <c:v>0.5133363225333365</c:v>
                </c:pt>
                <c:pt idx="124">
                  <c:v>0.50303659657473898</c:v>
                </c:pt>
                <c:pt idx="125">
                  <c:v>0.49731843290205946</c:v>
                </c:pt>
                <c:pt idx="126">
                  <c:v>0.52247387856782301</c:v>
                </c:pt>
                <c:pt idx="127">
                  <c:v>0.51217415260922405</c:v>
                </c:pt>
                <c:pt idx="128">
                  <c:v>0.50645598893653965</c:v>
                </c:pt>
                <c:pt idx="129">
                  <c:v>0.53161143460230864</c:v>
                </c:pt>
                <c:pt idx="130">
                  <c:v>0.52131170864370902</c:v>
                </c:pt>
                <c:pt idx="131">
                  <c:v>0.51559354497102383</c:v>
                </c:pt>
                <c:pt idx="132">
                  <c:v>0.54074899063679582</c:v>
                </c:pt>
                <c:pt idx="133">
                  <c:v>0.53159865033363463</c:v>
                </c:pt>
                <c:pt idx="134">
                  <c:v>0.52473110100551201</c:v>
                </c:pt>
                <c:pt idx="135">
                  <c:v>0.55446491289002597</c:v>
                </c:pt>
                <c:pt idx="136">
                  <c:v>0.54416518693142657</c:v>
                </c:pt>
                <c:pt idx="137">
                  <c:v>0.53844702325874505</c:v>
                </c:pt>
                <c:pt idx="138">
                  <c:v>0.56360246892451105</c:v>
                </c:pt>
                <c:pt idx="139">
                  <c:v>0.55330274296590964</c:v>
                </c:pt>
                <c:pt idx="140">
                  <c:v>0.54758457929322957</c:v>
                </c:pt>
                <c:pt idx="141">
                  <c:v>0.5727416229925848</c:v>
                </c:pt>
                <c:pt idx="142">
                  <c:v>0.56358489055508465</c:v>
                </c:pt>
                <c:pt idx="143">
                  <c:v>0.55672213532771497</c:v>
                </c:pt>
                <c:pt idx="144">
                  <c:v>0.58188716919498318</c:v>
                </c:pt>
                <c:pt idx="145">
                  <c:v>0.57272244658957483</c:v>
                </c:pt>
                <c:pt idx="146">
                  <c:v>0.59102472522947103</c:v>
                </c:pt>
                <c:pt idx="147">
                  <c:v>0.58072499927087295</c:v>
                </c:pt>
                <c:pt idx="148">
                  <c:v>0.60016387929754</c:v>
                </c:pt>
                <c:pt idx="149">
                  <c:v>0.59215173841473201</c:v>
                </c:pt>
                <c:pt idx="150">
                  <c:v>0.58414439163267551</c:v>
                </c:pt>
                <c:pt idx="151">
                  <c:v>0.60930942549994604</c:v>
                </c:pt>
                <c:pt idx="152">
                  <c:v>0.60014470289453281</c:v>
                </c:pt>
                <c:pt idx="153">
                  <c:v>0.61844857956801835</c:v>
                </c:pt>
                <c:pt idx="154">
                  <c:v>0.61043643868520703</c:v>
                </c:pt>
                <c:pt idx="155">
                  <c:v>0.62759412577042151</c:v>
                </c:pt>
                <c:pt idx="156">
                  <c:v>0.61614501415638856</c:v>
                </c:pt>
                <c:pt idx="157">
                  <c:v>0.64131004802365499</c:v>
                </c:pt>
                <c:pt idx="158">
                  <c:v>0.62986573051037376</c:v>
                </c:pt>
                <c:pt idx="159">
                  <c:v>0.62300297528299997</c:v>
                </c:pt>
                <c:pt idx="160">
                  <c:v>0.65044920209172719</c:v>
                </c:pt>
                <c:pt idx="161">
                  <c:v>0.64129246965422804</c:v>
                </c:pt>
                <c:pt idx="162">
                  <c:v>0.6344297144268618</c:v>
                </c:pt>
                <c:pt idx="163">
                  <c:v>0.65959474829413234</c:v>
                </c:pt>
                <c:pt idx="164">
                  <c:v>0.6481456366800995</c:v>
                </c:pt>
                <c:pt idx="165">
                  <c:v>0.67331067054736304</c:v>
                </c:pt>
                <c:pt idx="166">
                  <c:v>0.66186635303408081</c:v>
                </c:pt>
                <c:pt idx="167">
                  <c:v>0.65500359780670903</c:v>
                </c:pt>
                <c:pt idx="168">
                  <c:v>0.68244982461543435</c:v>
                </c:pt>
                <c:pt idx="169">
                  <c:v>0.67329309217793765</c:v>
                </c:pt>
                <c:pt idx="170">
                  <c:v>0.66643033695056864</c:v>
                </c:pt>
                <c:pt idx="171">
                  <c:v>0.69159537081783751</c:v>
                </c:pt>
                <c:pt idx="172">
                  <c:v>0.68014625920380234</c:v>
                </c:pt>
                <c:pt idx="173">
                  <c:v>0.70531129307107165</c:v>
                </c:pt>
                <c:pt idx="174">
                  <c:v>0.69501156711247303</c:v>
                </c:pt>
                <c:pt idx="175">
                  <c:v>0.68700422033041764</c:v>
                </c:pt>
                <c:pt idx="176">
                  <c:v>0.71902881335789293</c:v>
                </c:pt>
                <c:pt idx="177">
                  <c:v>0.709872080920393</c:v>
                </c:pt>
                <c:pt idx="178">
                  <c:v>0.70072014258365234</c:v>
                </c:pt>
                <c:pt idx="179">
                  <c:v>0.72817435956029464</c:v>
                </c:pt>
                <c:pt idx="180">
                  <c:v>0.71443606483688249</c:v>
                </c:pt>
                <c:pt idx="181">
                  <c:v>0.74189028181352934</c:v>
                </c:pt>
                <c:pt idx="182">
                  <c:v>0.730445964300242</c:v>
                </c:pt>
                <c:pt idx="183">
                  <c:v>0.72358320907287299</c:v>
                </c:pt>
                <c:pt idx="184">
                  <c:v>0.75560620406676005</c:v>
                </c:pt>
                <c:pt idx="185">
                  <c:v>0.74530647810816264</c:v>
                </c:pt>
                <c:pt idx="186">
                  <c:v>0.7372991313261088</c:v>
                </c:pt>
                <c:pt idx="187">
                  <c:v>0.76932372435358076</c:v>
                </c:pt>
                <c:pt idx="188">
                  <c:v>0.7601669919160815</c:v>
                </c:pt>
                <c:pt idx="189">
                  <c:v>0.75101505357934206</c:v>
                </c:pt>
                <c:pt idx="190">
                  <c:v>0.7784692705559858</c:v>
                </c:pt>
                <c:pt idx="191">
                  <c:v>0.7647309758325731</c:v>
                </c:pt>
                <c:pt idx="192">
                  <c:v>0.79218519280921551</c:v>
                </c:pt>
                <c:pt idx="193">
                  <c:v>0.78074087529593095</c:v>
                </c:pt>
                <c:pt idx="194">
                  <c:v>0.77387812006856482</c:v>
                </c:pt>
                <c:pt idx="195">
                  <c:v>0.80590271309603301</c:v>
                </c:pt>
                <c:pt idx="196">
                  <c:v>0.79674598065854119</c:v>
                </c:pt>
                <c:pt idx="197">
                  <c:v>0.78759404232179564</c:v>
                </c:pt>
                <c:pt idx="198">
                  <c:v>0.81504825929844182</c:v>
                </c:pt>
                <c:pt idx="199">
                  <c:v>0.80130996457502701</c:v>
                </c:pt>
                <c:pt idx="200">
                  <c:v>0.8241874133665108</c:v>
                </c:pt>
                <c:pt idx="201">
                  <c:v>0.81503068092901299</c:v>
                </c:pt>
                <c:pt idx="202">
                  <c:v>0.80816792570163931</c:v>
                </c:pt>
                <c:pt idx="203">
                  <c:v>0.83333455760249964</c:v>
                </c:pt>
                <c:pt idx="204">
                  <c:v>0.84248010380490457</c:v>
                </c:pt>
                <c:pt idx="205">
                  <c:v>0.82417303106425099</c:v>
                </c:pt>
                <c:pt idx="206">
                  <c:v>0.83103099219086762</c:v>
                </c:pt>
                <c:pt idx="207">
                  <c:v>0.85619602605814082</c:v>
                </c:pt>
                <c:pt idx="208">
                  <c:v>0.84475170854485482</c:v>
                </c:pt>
                <c:pt idx="209">
                  <c:v>0.83788895331748581</c:v>
                </c:pt>
                <c:pt idx="210">
                  <c:v>0.86991194831136998</c:v>
                </c:pt>
                <c:pt idx="211">
                  <c:v>0.85846763079808563</c:v>
                </c:pt>
                <c:pt idx="212">
                  <c:v>0.85160487557071918</c:v>
                </c:pt>
                <c:pt idx="213">
                  <c:v>0.88362787056460534</c:v>
                </c:pt>
                <c:pt idx="214">
                  <c:v>0.87218355305131801</c:v>
                </c:pt>
                <c:pt idx="215">
                  <c:v>0.865320797823949</c:v>
                </c:pt>
                <c:pt idx="216">
                  <c:v>0.89276702463267299</c:v>
                </c:pt>
                <c:pt idx="217">
                  <c:v>0.88361029219518006</c:v>
                </c:pt>
                <c:pt idx="218">
                  <c:v>0.87674753696781083</c:v>
                </c:pt>
                <c:pt idx="219">
                  <c:v>0.90191257083507859</c:v>
                </c:pt>
                <c:pt idx="220">
                  <c:v>0.89274784822966202</c:v>
                </c:pt>
                <c:pt idx="221">
                  <c:v>0.91105012686956399</c:v>
                </c:pt>
                <c:pt idx="222">
                  <c:v>0.90075040091096459</c:v>
                </c:pt>
                <c:pt idx="223">
                  <c:v>0.92476604912279659</c:v>
                </c:pt>
                <c:pt idx="224">
                  <c:v>0.9156157088196375</c:v>
                </c:pt>
                <c:pt idx="225">
                  <c:v>0.90645897638214201</c:v>
                </c:pt>
                <c:pt idx="226">
                  <c:v>0.93390360515728199</c:v>
                </c:pt>
                <c:pt idx="227">
                  <c:v>0.92360387919868581</c:v>
                </c:pt>
                <c:pt idx="228">
                  <c:v>0.91788571552600162</c:v>
                </c:pt>
                <c:pt idx="229">
                  <c:v>0.94304116119176651</c:v>
                </c:pt>
                <c:pt idx="230">
                  <c:v>0.93274143523317321</c:v>
                </c:pt>
                <c:pt idx="231">
                  <c:v>0.9270232715604888</c:v>
                </c:pt>
                <c:pt idx="232">
                  <c:v>0.95217871722625202</c:v>
                </c:pt>
                <c:pt idx="233">
                  <c:v>0.94187899126765351</c:v>
                </c:pt>
                <c:pt idx="234">
                  <c:v>0.93616082759497365</c:v>
                </c:pt>
                <c:pt idx="235">
                  <c:v>0.96131627326073699</c:v>
                </c:pt>
                <c:pt idx="236">
                  <c:v>0.95101654730213858</c:v>
                </c:pt>
                <c:pt idx="237">
                  <c:v>0.94529838362945695</c:v>
                </c:pt>
                <c:pt idx="238">
                  <c:v>0.97045542732880918</c:v>
                </c:pt>
                <c:pt idx="239">
                  <c:v>0.96129869489131103</c:v>
                </c:pt>
                <c:pt idx="240">
                  <c:v>0.95443593966394202</c:v>
                </c:pt>
                <c:pt idx="241">
                  <c:v>0.9750130191109585</c:v>
                </c:pt>
                <c:pt idx="242">
                  <c:v>0.96586267880780097</c:v>
                </c:pt>
                <c:pt idx="243">
                  <c:v>0.9795722089266965</c:v>
                </c:pt>
                <c:pt idx="244">
                  <c:v>0.9727110517329115</c:v>
                </c:pt>
                <c:pt idx="245">
                  <c:v>0.98871136299476559</c:v>
                </c:pt>
                <c:pt idx="246">
                  <c:v>0.98069922211195704</c:v>
                </c:pt>
                <c:pt idx="247">
                  <c:v>0.99327055281050303</c:v>
                </c:pt>
                <c:pt idx="248">
                  <c:v>0.98525841192769459</c:v>
                </c:pt>
                <c:pt idx="249">
                  <c:v>0.99782974262624002</c:v>
                </c:pt>
                <c:pt idx="250">
                  <c:v>0.98981760174343159</c:v>
                </c:pt>
                <c:pt idx="251">
                  <c:v>0.99857202922610189</c:v>
                </c:pt>
                <c:pt idx="252">
                  <c:v>0.99094781099586104</c:v>
                </c:pt>
                <c:pt idx="253">
                  <c:v>1.0023697560389557</c:v>
                </c:pt>
                <c:pt idx="254">
                  <c:v>0.99550220671084388</c:v>
                </c:pt>
                <c:pt idx="255">
                  <c:v>1.0023505796359546</c:v>
                </c:pt>
                <c:pt idx="256">
                  <c:v>0.99548303030783458</c:v>
                </c:pt>
                <c:pt idx="257">
                  <c:v>1.0023314032329398</c:v>
                </c:pt>
                <c:pt idx="258">
                  <c:v>0.9954638539048245</c:v>
                </c:pt>
                <c:pt idx="259">
                  <c:v>1.00231222682993</c:v>
                </c:pt>
                <c:pt idx="260">
                  <c:v>0.99544467750181465</c:v>
                </c:pt>
                <c:pt idx="261">
                  <c:v>1.00000386731755</c:v>
                </c:pt>
                <c:pt idx="262">
                  <c:v>0.99199172643474365</c:v>
                </c:pt>
                <c:pt idx="263">
                  <c:v>0.99769550780516703</c:v>
                </c:pt>
                <c:pt idx="264">
                  <c:v>0.98968336692235592</c:v>
                </c:pt>
                <c:pt idx="265">
                  <c:v>0.99309796518340898</c:v>
                </c:pt>
                <c:pt idx="266">
                  <c:v>0.9850858243006001</c:v>
                </c:pt>
                <c:pt idx="267">
                  <c:v>0.98850042256165049</c:v>
                </c:pt>
                <c:pt idx="268">
                  <c:v>0.97934369012415734</c:v>
                </c:pt>
                <c:pt idx="269">
                  <c:v>0.98161369683051902</c:v>
                </c:pt>
                <c:pt idx="270">
                  <c:v>0.97245696439302298</c:v>
                </c:pt>
                <c:pt idx="271">
                  <c:v>0.97243778799001257</c:v>
                </c:pt>
                <c:pt idx="272">
                  <c:v>0.965575032762644</c:v>
                </c:pt>
                <c:pt idx="273">
                  <c:v>0.95067137204795005</c:v>
                </c:pt>
                <c:pt idx="274">
                  <c:v>0.94264964296363918</c:v>
                </c:pt>
                <c:pt idx="275">
                  <c:v>0.94950760409025259</c:v>
                </c:pt>
                <c:pt idx="276">
                  <c:v>0.93348172429105059</c:v>
                </c:pt>
                <c:pt idx="277">
                  <c:v>0.9208832270215761</c:v>
                </c:pt>
                <c:pt idx="278">
                  <c:v>0.93804730624112664</c:v>
                </c:pt>
                <c:pt idx="279">
                  <c:v>0.928885779702878</c:v>
                </c:pt>
                <c:pt idx="280">
                  <c:v>0.91171690638257363</c:v>
                </c:pt>
                <c:pt idx="281">
                  <c:v>0.91971945906388075</c:v>
                </c:pt>
                <c:pt idx="282">
                  <c:v>0.9025505857435725</c:v>
                </c:pt>
                <c:pt idx="283">
                  <c:v>0.91055313842487595</c:v>
                </c:pt>
                <c:pt idx="284">
                  <c:v>0.89223967354988876</c:v>
                </c:pt>
                <c:pt idx="285">
                  <c:v>0.90138681778587504</c:v>
                </c:pt>
                <c:pt idx="286">
                  <c:v>0.88307335291088462</c:v>
                </c:pt>
                <c:pt idx="287">
                  <c:v>0.88993131403750003</c:v>
                </c:pt>
                <c:pt idx="288">
                  <c:v>0.8739054342383038</c:v>
                </c:pt>
                <c:pt idx="289">
                  <c:v>0.86704427704451892</c:v>
                </c:pt>
                <c:pt idx="290">
                  <c:v>0.8601623454141345</c:v>
                </c:pt>
                <c:pt idx="291">
                  <c:v>0.87847101618837919</c:v>
                </c:pt>
                <c:pt idx="292">
                  <c:v>0.86702030654075335</c:v>
                </c:pt>
                <c:pt idx="293">
                  <c:v>0.85099442674155235</c:v>
                </c:pt>
                <c:pt idx="294">
                  <c:v>0.83725133791738604</c:v>
                </c:pt>
                <c:pt idx="295">
                  <c:v>0.85556000869162396</c:v>
                </c:pt>
                <c:pt idx="296">
                  <c:v>0.84410929904400434</c:v>
                </c:pt>
                <c:pt idx="297">
                  <c:v>0.82808341924480322</c:v>
                </c:pt>
                <c:pt idx="298">
                  <c:v>0.81434033042063603</c:v>
                </c:pt>
                <c:pt idx="299">
                  <c:v>0.83264900119488039</c:v>
                </c:pt>
                <c:pt idx="300">
                  <c:v>0.82119829154725299</c:v>
                </c:pt>
                <c:pt idx="301">
                  <c:v>0.80517241174805099</c:v>
                </c:pt>
                <c:pt idx="302">
                  <c:v>0.79831125455426599</c:v>
                </c:pt>
                <c:pt idx="303">
                  <c:v>0.79142932292388934</c:v>
                </c:pt>
                <c:pt idx="304">
                  <c:v>0.80973799369812782</c:v>
                </c:pt>
                <c:pt idx="305">
                  <c:v>0.79828728405050298</c:v>
                </c:pt>
                <c:pt idx="306">
                  <c:v>0.78226140425130197</c:v>
                </c:pt>
                <c:pt idx="307">
                  <c:v>0.77540024705751764</c:v>
                </c:pt>
                <c:pt idx="308">
                  <c:v>0.76851671739355365</c:v>
                </c:pt>
                <c:pt idx="309">
                  <c:v>0.76165556019976965</c:v>
                </c:pt>
                <c:pt idx="310">
                  <c:v>0.78224861998262796</c:v>
                </c:pt>
                <c:pt idx="311">
                  <c:v>0.75477362856939356</c:v>
                </c:pt>
                <c:pt idx="312">
                  <c:v>0.77308229934362704</c:v>
                </c:pt>
                <c:pt idx="313">
                  <c:v>0.76163158969600664</c:v>
                </c:pt>
                <c:pt idx="314">
                  <c:v>0.74560570989680464</c:v>
                </c:pt>
                <c:pt idx="315">
                  <c:v>0.73874455270302275</c:v>
                </c:pt>
                <c:pt idx="316">
                  <c:v>0.73186102303905665</c:v>
                </c:pt>
                <c:pt idx="317">
                  <c:v>0.72499986584527165</c:v>
                </c:pt>
                <c:pt idx="318">
                  <c:v>0.74559292562812995</c:v>
                </c:pt>
                <c:pt idx="319">
                  <c:v>0.71811633618130699</c:v>
                </c:pt>
                <c:pt idx="320">
                  <c:v>0.711255178987522</c:v>
                </c:pt>
                <c:pt idx="321">
                  <c:v>0.73184823877038518</c:v>
                </c:pt>
                <c:pt idx="322">
                  <c:v>0.70437324735714302</c:v>
                </c:pt>
                <c:pt idx="323">
                  <c:v>0.69636110647433402</c:v>
                </c:pt>
                <c:pt idx="324">
                  <c:v>0.72268191813138383</c:v>
                </c:pt>
                <c:pt idx="325">
                  <c:v>0.71123120848375965</c:v>
                </c:pt>
                <c:pt idx="326">
                  <c:v>0.68604859624706205</c:v>
                </c:pt>
                <c:pt idx="327">
                  <c:v>0.69978049883613702</c:v>
                </c:pt>
                <c:pt idx="328">
                  <c:v>0.67230550742290063</c:v>
                </c:pt>
                <c:pt idx="329">
                  <c:v>0.690614178197136</c:v>
                </c:pt>
                <c:pt idx="330">
                  <c:v>0.68145265165889035</c:v>
                </c:pt>
                <c:pt idx="331">
                  <c:v>0.66313918678389983</c:v>
                </c:pt>
                <c:pt idx="332">
                  <c:v>0.65512704590108894</c:v>
                </c:pt>
                <c:pt idx="333">
                  <c:v>0.66999714791051634</c:v>
                </c:pt>
                <c:pt idx="334">
                  <c:v>0.64481453567382074</c:v>
                </c:pt>
                <c:pt idx="335">
                  <c:v>0.65625246105276458</c:v>
                </c:pt>
                <c:pt idx="336">
                  <c:v>0.63106984881606798</c:v>
                </c:pt>
                <c:pt idx="337">
                  <c:v>0.64250777419501603</c:v>
                </c:pt>
                <c:pt idx="338">
                  <c:v>0.61732516195831899</c:v>
                </c:pt>
                <c:pt idx="339">
                  <c:v>0.62876308733726749</c:v>
                </c:pt>
                <c:pt idx="340">
                  <c:v>0.60358047510057333</c:v>
                </c:pt>
                <c:pt idx="341">
                  <c:v>0.61501840047952194</c:v>
                </c:pt>
                <c:pt idx="342">
                  <c:v>0.58983578824282157</c:v>
                </c:pt>
                <c:pt idx="343">
                  <c:v>0.60127371362177406</c:v>
                </c:pt>
                <c:pt idx="344">
                  <c:v>0.57609110138507647</c:v>
                </c:pt>
                <c:pt idx="345">
                  <c:v>0.58752902676402197</c:v>
                </c:pt>
                <c:pt idx="346">
                  <c:v>0.56234641452732503</c:v>
                </c:pt>
                <c:pt idx="347">
                  <c:v>0.57378433990627398</c:v>
                </c:pt>
                <c:pt idx="348">
                  <c:v>0.54860172766958182</c:v>
                </c:pt>
                <c:pt idx="349">
                  <c:v>0.56003965304852876</c:v>
                </c:pt>
                <c:pt idx="350">
                  <c:v>0.53485704081182806</c:v>
                </c:pt>
                <c:pt idx="351">
                  <c:v>0.54629496619077911</c:v>
                </c:pt>
                <c:pt idx="352">
                  <c:v>0.524547726651725</c:v>
                </c:pt>
                <c:pt idx="353">
                  <c:v>0.53255027933302801</c:v>
                </c:pt>
                <c:pt idx="354">
                  <c:v>0.51652439953382701</c:v>
                </c:pt>
                <c:pt idx="355">
                  <c:v>0.50966324234004201</c:v>
                </c:pt>
                <c:pt idx="356">
                  <c:v>0.50277971267608279</c:v>
                </c:pt>
                <c:pt idx="357">
                  <c:v>0.51651161526515299</c:v>
                </c:pt>
                <c:pt idx="358">
                  <c:v>0.48903662385191432</c:v>
                </c:pt>
                <c:pt idx="359">
                  <c:v>0.50734529462615263</c:v>
                </c:pt>
                <c:pt idx="360">
                  <c:v>0.49589458497853117</c:v>
                </c:pt>
                <c:pt idx="361">
                  <c:v>0.47986870517933111</c:v>
                </c:pt>
                <c:pt idx="362">
                  <c:v>0.46612401832158001</c:v>
                </c:pt>
                <c:pt idx="363">
                  <c:v>0.47985592091065687</c:v>
                </c:pt>
                <c:pt idx="364">
                  <c:v>0.45238092949741787</c:v>
                </c:pt>
                <c:pt idx="365">
                  <c:v>0.47068960027165541</c:v>
                </c:pt>
                <c:pt idx="366">
                  <c:v>0.459238890624032</c:v>
                </c:pt>
                <c:pt idx="367">
                  <c:v>0.443213010824831</c:v>
                </c:pt>
                <c:pt idx="368">
                  <c:v>0.4306145135553554</c:v>
                </c:pt>
                <c:pt idx="369">
                  <c:v>0.44777859277490617</c:v>
                </c:pt>
                <c:pt idx="370">
                  <c:v>0.43861706623665864</c:v>
                </c:pt>
                <c:pt idx="371">
                  <c:v>0.42030360136166811</c:v>
                </c:pt>
                <c:pt idx="372">
                  <c:v>0.42716156248828202</c:v>
                </c:pt>
                <c:pt idx="373">
                  <c:v>0.41113568268908102</c:v>
                </c:pt>
                <c:pt idx="374">
                  <c:v>0.3973925938649201</c:v>
                </c:pt>
                <c:pt idx="375">
                  <c:v>0.41570126463915502</c:v>
                </c:pt>
                <c:pt idx="376">
                  <c:v>0.40425055499153273</c:v>
                </c:pt>
                <c:pt idx="377">
                  <c:v>0.38822467519233411</c:v>
                </c:pt>
                <c:pt idx="378">
                  <c:v>0.37448158636816853</c:v>
                </c:pt>
                <c:pt idx="379">
                  <c:v>0.39279025714240717</c:v>
                </c:pt>
                <c:pt idx="380">
                  <c:v>0.38133954749478438</c:v>
                </c:pt>
                <c:pt idx="381">
                  <c:v>0.36531366769558388</c:v>
                </c:pt>
                <c:pt idx="382">
                  <c:v>0.35271517042610473</c:v>
                </c:pt>
                <c:pt idx="383">
                  <c:v>0.36987924964565794</c:v>
                </c:pt>
                <c:pt idx="384">
                  <c:v>0.3607177231074094</c:v>
                </c:pt>
                <c:pt idx="385">
                  <c:v>0.34240425823241732</c:v>
                </c:pt>
                <c:pt idx="386">
                  <c:v>0.34926221935903518</c:v>
                </c:pt>
                <c:pt idx="387">
                  <c:v>0.33323633955983317</c:v>
                </c:pt>
                <c:pt idx="388">
                  <c:v>0.32063784229035502</c:v>
                </c:pt>
                <c:pt idx="389">
                  <c:v>0.3378019215099084</c:v>
                </c:pt>
                <c:pt idx="390">
                  <c:v>0.32864039497165953</c:v>
                </c:pt>
                <c:pt idx="391">
                  <c:v>0.3103269300966694</c:v>
                </c:pt>
                <c:pt idx="392">
                  <c:v>0.31718489122328647</c:v>
                </c:pt>
                <c:pt idx="393">
                  <c:v>0.30115901142408202</c:v>
                </c:pt>
                <c:pt idx="394">
                  <c:v>0.28856051415460687</c:v>
                </c:pt>
                <c:pt idx="395">
                  <c:v>0.30572459337415836</c:v>
                </c:pt>
                <c:pt idx="396">
                  <c:v>0.29656306683590838</c:v>
                </c:pt>
                <c:pt idx="397">
                  <c:v>0.27824960196091708</c:v>
                </c:pt>
                <c:pt idx="398">
                  <c:v>0.28739674619690708</c:v>
                </c:pt>
                <c:pt idx="399">
                  <c:v>0.26908328132191706</c:v>
                </c:pt>
                <c:pt idx="400">
                  <c:v>0.27594124244853135</c:v>
                </c:pt>
                <c:pt idx="401">
                  <c:v>0.25991536264933102</c:v>
                </c:pt>
                <c:pt idx="402">
                  <c:v>0.24731686537985401</c:v>
                </c:pt>
                <c:pt idx="403">
                  <c:v>0.26448094459940641</c:v>
                </c:pt>
                <c:pt idx="404">
                  <c:v>0.25531941806115699</c:v>
                </c:pt>
                <c:pt idx="405">
                  <c:v>0.23815054474085287</c:v>
                </c:pt>
                <c:pt idx="406">
                  <c:v>0.24615309742215699</c:v>
                </c:pt>
                <c:pt idx="407">
                  <c:v>0.22898422410185201</c:v>
                </c:pt>
                <c:pt idx="408">
                  <c:v>0.23698677678315597</c:v>
                </c:pt>
                <c:pt idx="409">
                  <c:v>0.21981790346285288</c:v>
                </c:pt>
                <c:pt idx="410">
                  <c:v>0.227820456144155</c:v>
                </c:pt>
                <c:pt idx="411">
                  <c:v>0.21865413550515456</c:v>
                </c:pt>
                <c:pt idx="412">
                  <c:v>0.20949740306765988</c:v>
                </c:pt>
                <c:pt idx="413">
                  <c:v>0.20033108242865788</c:v>
                </c:pt>
                <c:pt idx="414">
                  <c:v>0.20718904355527573</c:v>
                </c:pt>
                <c:pt idx="415">
                  <c:v>0.19116316375607301</c:v>
                </c:pt>
                <c:pt idx="416">
                  <c:v>0.19572874570614701</c:v>
                </c:pt>
                <c:pt idx="417">
                  <c:v>0.1865672191679002</c:v>
                </c:pt>
                <c:pt idx="418">
                  <c:v>0.17741048673040455</c:v>
                </c:pt>
                <c:pt idx="419">
                  <c:v>0.16824256805781901</c:v>
                </c:pt>
                <c:pt idx="420">
                  <c:v>0.18197447064689376</c:v>
                </c:pt>
                <c:pt idx="421">
                  <c:v>0.17051417279776676</c:v>
                </c:pt>
                <c:pt idx="422">
                  <c:v>0.16135744036027044</c:v>
                </c:pt>
                <c:pt idx="423">
                  <c:v>0.15678386824227541</c:v>
                </c:pt>
                <c:pt idx="424">
                  <c:v>0.14990193661189688</c:v>
                </c:pt>
                <c:pt idx="425">
                  <c:v>0.15905387494863887</c:v>
                </c:pt>
                <c:pt idx="426">
                  <c:v>0.14226014001222814</c:v>
                </c:pt>
                <c:pt idx="427">
                  <c:v>0.14300562267925887</c:v>
                </c:pt>
                <c:pt idx="428">
                  <c:v>0.13384889024176341</c:v>
                </c:pt>
                <c:pt idx="429">
                  <c:v>0.12391791053271999</c:v>
                </c:pt>
                <c:pt idx="430">
                  <c:v>0.13382971383875167</c:v>
                </c:pt>
                <c:pt idx="431">
                  <c:v>0.12237261205679402</c:v>
                </c:pt>
                <c:pt idx="432">
                  <c:v>0.113217477652882</c:v>
                </c:pt>
                <c:pt idx="433">
                  <c:v>0.11548748435924568</c:v>
                </c:pt>
                <c:pt idx="434">
                  <c:v>0.10633075192175044</c:v>
                </c:pt>
                <c:pt idx="435">
                  <c:v>9.6399772212707679E-2</c:v>
                </c:pt>
                <c:pt idx="436">
                  <c:v>0.10631157551874</c:v>
                </c:pt>
                <c:pt idx="437">
                  <c:v>9.4854473736781922E-2</c:v>
                </c:pt>
                <c:pt idx="438">
                  <c:v>8.7993316542996525E-2</c:v>
                </c:pt>
                <c:pt idx="439">
                  <c:v>9.2547712257981404E-2</c:v>
                </c:pt>
                <c:pt idx="440">
                  <c:v>8.3390979820485697E-2</c:v>
                </c:pt>
                <c:pt idx="441">
                  <c:v>8.3371803417475007E-2</c:v>
                </c:pt>
                <c:pt idx="442">
                  <c:v>7.4215070979979494E-2</c:v>
                </c:pt>
                <c:pt idx="443">
                  <c:v>7.4195894576969096E-2</c:v>
                </c:pt>
                <c:pt idx="444">
                  <c:v>6.5039162139473694E-2</c:v>
                </c:pt>
                <c:pt idx="445">
                  <c:v>6.9598351955211482E-2</c:v>
                </c:pt>
                <c:pt idx="446">
                  <c:v>6.0441619517715504E-2</c:v>
                </c:pt>
                <c:pt idx="447">
                  <c:v>5.5868047399720414E-2</c:v>
                </c:pt>
                <c:pt idx="448">
                  <c:v>6.0422443114705113E-2</c:v>
                </c:pt>
                <c:pt idx="449">
                  <c:v>5.1265710677209392E-2</c:v>
                </c:pt>
                <c:pt idx="450">
                  <c:v>5.3535717383572795E-2</c:v>
                </c:pt>
                <c:pt idx="451">
                  <c:v>4.4378984946077442E-2</c:v>
                </c:pt>
                <c:pt idx="452">
                  <c:v>4.6648991652440623E-2</c:v>
                </c:pt>
                <c:pt idx="453">
                  <c:v>3.8636850769632101E-2</c:v>
                </c:pt>
                <c:pt idx="454">
                  <c:v>4.2051449030682399E-2</c:v>
                </c:pt>
                <c:pt idx="455">
                  <c:v>3.2894716593186941E-2</c:v>
                </c:pt>
                <c:pt idx="456">
                  <c:v>3.5164723299550393E-2</c:v>
                </c:pt>
                <c:pt idx="457">
                  <c:v>2.8297173971428811E-2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C81A-4FFD-AC92-178FDFDFE6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7068928"/>
        <c:axId val="117273728"/>
      </c:scatterChart>
      <c:valAx>
        <c:axId val="117068928"/>
        <c:scaling>
          <c:orientation val="minMax"/>
          <c:max val="700"/>
          <c:min val="400"/>
        </c:scaling>
        <c:delete val="0"/>
        <c:axPos val="b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ru-RU"/>
                  <a:t>Длина волны, нм</a:t>
                </a:r>
              </a:p>
            </c:rich>
          </c:tx>
          <c:layout>
            <c:manualLayout>
              <c:xMode val="edge"/>
              <c:yMode val="edge"/>
              <c:x val="0.30028361111111118"/>
              <c:y val="0.93984583333333827"/>
            </c:manualLayout>
          </c:layout>
          <c:overlay val="0"/>
        </c:title>
        <c:numFmt formatCode="0" sourceLinked="1"/>
        <c:majorTickMark val="out"/>
        <c:minorTickMark val="none"/>
        <c:tickLblPos val="nextTo"/>
        <c:crossAx val="117273728"/>
        <c:crosses val="autoZero"/>
        <c:crossBetween val="midCat"/>
      </c:valAx>
      <c:valAx>
        <c:axId val="117273728"/>
        <c:scaling>
          <c:orientation val="minMax"/>
        </c:scaling>
        <c:delete val="1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/>
                  <a:t>Поглощение света, произв. ед.</a:t>
                </a:r>
              </a:p>
            </c:rich>
          </c:tx>
          <c:layout>
            <c:manualLayout>
              <c:xMode val="edge"/>
              <c:yMode val="edge"/>
              <c:x val="7.7785714285714515E-3"/>
              <c:y val="0.11236309523809521"/>
            </c:manualLayout>
          </c:layout>
          <c:overlay val="0"/>
        </c:title>
        <c:numFmt formatCode="0" sourceLinked="1"/>
        <c:majorTickMark val="out"/>
        <c:minorTickMark val="none"/>
        <c:tickLblPos val="none"/>
        <c:crossAx val="117068928"/>
        <c:crosses val="autoZero"/>
        <c:crossBetween val="midCat"/>
      </c:valAx>
      <c:spPr>
        <a:ln>
          <a:solidFill>
            <a:schemeClr val="tx1"/>
          </a:solidFill>
        </a:ln>
      </c:spPr>
    </c:plotArea>
    <c:legend>
      <c:legendPos val="r"/>
      <c:layout>
        <c:manualLayout>
          <c:xMode val="edge"/>
          <c:yMode val="edge"/>
          <c:x val="0.16884047619047673"/>
          <c:y val="3.1656026823230601E-4"/>
          <c:w val="0.64134111111111392"/>
          <c:h val="7.7342500000000022E-2"/>
        </c:manualLayout>
      </c:layout>
      <c:overlay val="0"/>
      <c:spPr>
        <a:solidFill>
          <a:schemeClr val="bg1"/>
        </a:solidFill>
      </c:spPr>
    </c:legend>
    <c:plotVisOnly val="1"/>
    <c:dispBlanksAs val="gap"/>
    <c:showDLblsOverMax val="0"/>
  </c:chart>
  <c:txPr>
    <a:bodyPr/>
    <a:lstStyle/>
    <a:p>
      <a:pPr>
        <a:defRPr sz="1200" b="1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1598605632205498E-2"/>
          <c:y val="0.12957285372850269"/>
          <c:w val="0.9532726526748263"/>
          <c:h val="0.6650261794273572"/>
        </c:manualLayout>
      </c:layout>
      <c:scatterChart>
        <c:scatterStyle val="smoothMarker"/>
        <c:varyColors val="0"/>
        <c:ser>
          <c:idx val="0"/>
          <c:order val="0"/>
          <c:tx>
            <c:strRef>
              <c:f>'Chlorophyll a and b Absorpt (2)'!$L$1</c:f>
              <c:strCache>
                <c:ptCount val="1"/>
                <c:pt idx="0">
                  <c:v>Chlorophyll a</c:v>
                </c:pt>
              </c:strCache>
            </c:strRef>
          </c:tx>
          <c:spPr>
            <a:ln>
              <a:solidFill>
                <a:srgbClr val="92D050"/>
              </a:solidFill>
              <a:prstDash val="solid"/>
            </a:ln>
          </c:spPr>
          <c:marker>
            <c:symbol val="none"/>
          </c:marker>
          <c:xVal>
            <c:numRef>
              <c:f>'Chlorophyll a and b Absorpt (2)'!$K$2:$K$103</c:f>
              <c:numCache>
                <c:formatCode>General</c:formatCode>
                <c:ptCount val="102"/>
                <c:pt idx="1">
                  <c:v>360</c:v>
                </c:pt>
                <c:pt idx="2">
                  <c:v>365</c:v>
                </c:pt>
                <c:pt idx="3">
                  <c:v>370</c:v>
                </c:pt>
                <c:pt idx="4">
                  <c:v>375</c:v>
                </c:pt>
                <c:pt idx="5">
                  <c:v>380</c:v>
                </c:pt>
                <c:pt idx="6">
                  <c:v>385</c:v>
                </c:pt>
                <c:pt idx="7">
                  <c:v>390</c:v>
                </c:pt>
                <c:pt idx="8">
                  <c:v>395</c:v>
                </c:pt>
                <c:pt idx="9">
                  <c:v>400</c:v>
                </c:pt>
                <c:pt idx="10">
                  <c:v>405</c:v>
                </c:pt>
                <c:pt idx="11">
                  <c:v>410</c:v>
                </c:pt>
                <c:pt idx="12">
                  <c:v>415</c:v>
                </c:pt>
                <c:pt idx="13">
                  <c:v>420</c:v>
                </c:pt>
                <c:pt idx="14">
                  <c:v>425</c:v>
                </c:pt>
                <c:pt idx="15">
                  <c:v>430</c:v>
                </c:pt>
                <c:pt idx="16">
                  <c:v>435</c:v>
                </c:pt>
                <c:pt idx="17">
                  <c:v>440</c:v>
                </c:pt>
                <c:pt idx="18">
                  <c:v>445</c:v>
                </c:pt>
                <c:pt idx="19">
                  <c:v>450</c:v>
                </c:pt>
                <c:pt idx="20">
                  <c:v>455</c:v>
                </c:pt>
                <c:pt idx="21">
                  <c:v>460</c:v>
                </c:pt>
                <c:pt idx="22">
                  <c:v>465</c:v>
                </c:pt>
                <c:pt idx="23">
                  <c:v>470</c:v>
                </c:pt>
                <c:pt idx="24">
                  <c:v>475</c:v>
                </c:pt>
                <c:pt idx="25">
                  <c:v>480</c:v>
                </c:pt>
                <c:pt idx="26">
                  <c:v>485</c:v>
                </c:pt>
                <c:pt idx="27">
                  <c:v>490</c:v>
                </c:pt>
                <c:pt idx="28">
                  <c:v>495</c:v>
                </c:pt>
                <c:pt idx="29">
                  <c:v>500</c:v>
                </c:pt>
                <c:pt idx="30">
                  <c:v>505</c:v>
                </c:pt>
                <c:pt idx="31">
                  <c:v>510</c:v>
                </c:pt>
                <c:pt idx="32">
                  <c:v>515</c:v>
                </c:pt>
                <c:pt idx="33">
                  <c:v>520</c:v>
                </c:pt>
                <c:pt idx="34">
                  <c:v>525</c:v>
                </c:pt>
                <c:pt idx="35">
                  <c:v>530</c:v>
                </c:pt>
                <c:pt idx="36">
                  <c:v>535</c:v>
                </c:pt>
                <c:pt idx="37">
                  <c:v>540</c:v>
                </c:pt>
                <c:pt idx="38">
                  <c:v>545</c:v>
                </c:pt>
                <c:pt idx="39">
                  <c:v>550</c:v>
                </c:pt>
                <c:pt idx="40">
                  <c:v>555</c:v>
                </c:pt>
                <c:pt idx="41">
                  <c:v>560</c:v>
                </c:pt>
                <c:pt idx="42">
                  <c:v>565</c:v>
                </c:pt>
                <c:pt idx="43">
                  <c:v>570</c:v>
                </c:pt>
                <c:pt idx="44">
                  <c:v>575</c:v>
                </c:pt>
                <c:pt idx="45">
                  <c:v>580</c:v>
                </c:pt>
                <c:pt idx="46">
                  <c:v>585</c:v>
                </c:pt>
                <c:pt idx="47">
                  <c:v>590</c:v>
                </c:pt>
                <c:pt idx="48">
                  <c:v>595</c:v>
                </c:pt>
                <c:pt idx="49">
                  <c:v>600</c:v>
                </c:pt>
                <c:pt idx="50">
                  <c:v>605</c:v>
                </c:pt>
                <c:pt idx="51">
                  <c:v>610</c:v>
                </c:pt>
                <c:pt idx="52">
                  <c:v>615</c:v>
                </c:pt>
                <c:pt idx="53">
                  <c:v>620</c:v>
                </c:pt>
                <c:pt idx="54">
                  <c:v>625</c:v>
                </c:pt>
                <c:pt idx="55">
                  <c:v>630</c:v>
                </c:pt>
                <c:pt idx="56">
                  <c:v>635</c:v>
                </c:pt>
                <c:pt idx="57">
                  <c:v>640</c:v>
                </c:pt>
                <c:pt idx="58">
                  <c:v>645</c:v>
                </c:pt>
                <c:pt idx="59">
                  <c:v>650</c:v>
                </c:pt>
                <c:pt idx="60">
                  <c:v>655</c:v>
                </c:pt>
                <c:pt idx="61">
                  <c:v>660</c:v>
                </c:pt>
                <c:pt idx="62">
                  <c:v>665</c:v>
                </c:pt>
                <c:pt idx="63">
                  <c:v>670</c:v>
                </c:pt>
                <c:pt idx="64">
                  <c:v>675</c:v>
                </c:pt>
                <c:pt idx="65">
                  <c:v>680</c:v>
                </c:pt>
                <c:pt idx="66">
                  <c:v>685</c:v>
                </c:pt>
                <c:pt idx="67">
                  <c:v>690</c:v>
                </c:pt>
                <c:pt idx="68">
                  <c:v>695</c:v>
                </c:pt>
                <c:pt idx="69">
                  <c:v>700</c:v>
                </c:pt>
                <c:pt idx="70">
                  <c:v>705</c:v>
                </c:pt>
                <c:pt idx="71">
                  <c:v>710</c:v>
                </c:pt>
                <c:pt idx="72">
                  <c:v>715</c:v>
                </c:pt>
                <c:pt idx="73">
                  <c:v>720</c:v>
                </c:pt>
                <c:pt idx="74">
                  <c:v>725</c:v>
                </c:pt>
                <c:pt idx="75">
                  <c:v>730</c:v>
                </c:pt>
                <c:pt idx="76">
                  <c:v>735</c:v>
                </c:pt>
                <c:pt idx="77">
                  <c:v>740</c:v>
                </c:pt>
                <c:pt idx="78">
                  <c:v>745</c:v>
                </c:pt>
                <c:pt idx="79">
                  <c:v>750</c:v>
                </c:pt>
                <c:pt idx="80">
                  <c:v>755</c:v>
                </c:pt>
                <c:pt idx="81">
                  <c:v>760</c:v>
                </c:pt>
                <c:pt idx="82">
                  <c:v>765</c:v>
                </c:pt>
                <c:pt idx="83">
                  <c:v>770</c:v>
                </c:pt>
                <c:pt idx="84">
                  <c:v>775</c:v>
                </c:pt>
                <c:pt idx="85">
                  <c:v>780</c:v>
                </c:pt>
                <c:pt idx="86">
                  <c:v>785</c:v>
                </c:pt>
                <c:pt idx="87">
                  <c:v>790</c:v>
                </c:pt>
                <c:pt idx="88">
                  <c:v>795</c:v>
                </c:pt>
                <c:pt idx="89">
                  <c:v>800</c:v>
                </c:pt>
                <c:pt idx="90">
                  <c:v>805</c:v>
                </c:pt>
                <c:pt idx="91">
                  <c:v>810</c:v>
                </c:pt>
                <c:pt idx="92">
                  <c:v>815</c:v>
                </c:pt>
                <c:pt idx="93">
                  <c:v>820</c:v>
                </c:pt>
                <c:pt idx="94">
                  <c:v>825</c:v>
                </c:pt>
                <c:pt idx="95">
                  <c:v>830</c:v>
                </c:pt>
                <c:pt idx="96">
                  <c:v>835</c:v>
                </c:pt>
                <c:pt idx="97">
                  <c:v>840</c:v>
                </c:pt>
                <c:pt idx="98">
                  <c:v>845</c:v>
                </c:pt>
                <c:pt idx="99">
                  <c:v>850</c:v>
                </c:pt>
                <c:pt idx="100">
                  <c:v>855</c:v>
                </c:pt>
                <c:pt idx="101">
                  <c:v>860</c:v>
                </c:pt>
              </c:numCache>
            </c:numRef>
          </c:xVal>
          <c:yVal>
            <c:numRef>
              <c:f>'Chlorophyll a and b Absorpt (2)'!$L$2:$L$103</c:f>
              <c:numCache>
                <c:formatCode>General</c:formatCode>
                <c:ptCount val="102"/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.42511249748884655</c:v>
                </c:pt>
                <c:pt idx="9">
                  <c:v>0.44337835334486397</c:v>
                </c:pt>
                <c:pt idx="10">
                  <c:v>0.42778582028649498</c:v>
                </c:pt>
                <c:pt idx="11">
                  <c:v>0.44745614777152776</c:v>
                </c:pt>
                <c:pt idx="12">
                  <c:v>0.54819299780545849</c:v>
                </c:pt>
                <c:pt idx="13">
                  <c:v>0.65216918456588779</c:v>
                </c:pt>
                <c:pt idx="14">
                  <c:v>0.65097662133066703</c:v>
                </c:pt>
                <c:pt idx="15">
                  <c:v>0.49123588619472308</c:v>
                </c:pt>
                <c:pt idx="16">
                  <c:v>0.27066063374694932</c:v>
                </c:pt>
                <c:pt idx="17">
                  <c:v>0.14769023579640975</c:v>
                </c:pt>
                <c:pt idx="18">
                  <c:v>9.8799737611833E-2</c:v>
                </c:pt>
                <c:pt idx="19">
                  <c:v>7.4874471743674412E-2</c:v>
                </c:pt>
                <c:pt idx="20">
                  <c:v>5.7393893710297933E-2</c:v>
                </c:pt>
                <c:pt idx="21">
                  <c:v>4.5693041552667901E-2</c:v>
                </c:pt>
                <c:pt idx="22">
                  <c:v>3.5595887344688798E-2</c:v>
                </c:pt>
                <c:pt idx="23">
                  <c:v>2.6395583235976478E-2</c:v>
                </c:pt>
                <c:pt idx="24">
                  <c:v>2.003503488612372E-2</c:v>
                </c:pt>
                <c:pt idx="25">
                  <c:v>1.63773348330143E-2</c:v>
                </c:pt>
                <c:pt idx="26">
                  <c:v>1.3285489611522963E-2</c:v>
                </c:pt>
                <c:pt idx="27">
                  <c:v>1.0193630374159098E-2</c:v>
                </c:pt>
                <c:pt idx="28">
                  <c:v>7.1013797702932733E-3</c:v>
                </c:pt>
                <c:pt idx="29">
                  <c:v>7.0778867662801802E-3</c:v>
                </c:pt>
                <c:pt idx="30">
                  <c:v>7.053769200785002E-3</c:v>
                </c:pt>
                <c:pt idx="31">
                  <c:v>9.3727297447643351E-3</c:v>
                </c:pt>
                <c:pt idx="32">
                  <c:v>1.19396936809728E-2</c:v>
                </c:pt>
                <c:pt idx="33">
                  <c:v>1.3118105739622733E-2</c:v>
                </c:pt>
                <c:pt idx="34">
                  <c:v>1.4695538847353603E-2</c:v>
                </c:pt>
                <c:pt idx="35">
                  <c:v>1.9283640935902107E-2</c:v>
                </c:pt>
                <c:pt idx="36">
                  <c:v>2.3017645249228901E-2</c:v>
                </c:pt>
                <c:pt idx="37">
                  <c:v>2.6027159304920999E-2</c:v>
                </c:pt>
                <c:pt idx="38">
                  <c:v>2.5270165197621985E-2</c:v>
                </c:pt>
                <c:pt idx="39">
                  <c:v>2.9668629585553802E-2</c:v>
                </c:pt>
                <c:pt idx="40">
                  <c:v>2.9057371064517216E-2</c:v>
                </c:pt>
                <c:pt idx="41">
                  <c:v>2.9554253403680199E-2</c:v>
                </c:pt>
                <c:pt idx="42">
                  <c:v>2.5941826010150756E-2</c:v>
                </c:pt>
                <c:pt idx="43">
                  <c:v>2.6398382980000606E-2</c:v>
                </c:pt>
                <c:pt idx="44">
                  <c:v>2.1432672237304651E-2</c:v>
                </c:pt>
                <c:pt idx="45">
                  <c:v>1.93152641594911E-2</c:v>
                </c:pt>
                <c:pt idx="46">
                  <c:v>1.8943115802432266E-2</c:v>
                </c:pt>
                <c:pt idx="47">
                  <c:v>1.5851270469511701E-2</c:v>
                </c:pt>
                <c:pt idx="48">
                  <c:v>1.8895292199158802E-2</c:v>
                </c:pt>
                <c:pt idx="49">
                  <c:v>2.1953362706567808E-2</c:v>
                </c:pt>
                <c:pt idx="50">
                  <c:v>2.9603402452497651E-2</c:v>
                </c:pt>
                <c:pt idx="51">
                  <c:v>3.8377974845122204E-2</c:v>
                </c:pt>
                <c:pt idx="52">
                  <c:v>3.8741210617363173E-2</c:v>
                </c:pt>
                <c:pt idx="53">
                  <c:v>3.8717298146191702E-2</c:v>
                </c:pt>
                <c:pt idx="54">
                  <c:v>3.56254529048168E-2</c:v>
                </c:pt>
                <c:pt idx="55">
                  <c:v>3.2533607860957305E-2</c:v>
                </c:pt>
                <c:pt idx="56">
                  <c:v>3.3031754747727897E-2</c:v>
                </c:pt>
                <c:pt idx="57">
                  <c:v>4.1576248623428701E-2</c:v>
                </c:pt>
                <c:pt idx="58">
                  <c:v>5.9368466128532651E-2</c:v>
                </c:pt>
                <c:pt idx="59">
                  <c:v>8.8065803666811229E-2</c:v>
                </c:pt>
                <c:pt idx="60">
                  <c:v>0.14087231921629101</c:v>
                </c:pt>
                <c:pt idx="61">
                  <c:v>0.24285640685754248</c:v>
                </c:pt>
                <c:pt idx="62">
                  <c:v>0.39615639223015114</c:v>
                </c:pt>
                <c:pt idx="63">
                  <c:v>0.47663520588947089</c:v>
                </c:pt>
                <c:pt idx="64">
                  <c:v>0.4499178030659069</c:v>
                </c:pt>
                <c:pt idx="65">
                  <c:v>0.31741287675459473</c:v>
                </c:pt>
                <c:pt idx="66">
                  <c:v>0.16525562265138297</c:v>
                </c:pt>
                <c:pt idx="67">
                  <c:v>6.9790792365254303E-2</c:v>
                </c:pt>
                <c:pt idx="68">
                  <c:v>2.6562514803889301E-2</c:v>
                </c:pt>
                <c:pt idx="69">
                  <c:v>1.5325206635299899E-2</c:v>
                </c:pt>
                <c:pt idx="70">
                  <c:v>1.00976272652059E-2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FDB7-47F0-B5EA-4A1E02502163}"/>
            </c:ext>
          </c:extLst>
        </c:ser>
        <c:ser>
          <c:idx val="1"/>
          <c:order val="1"/>
          <c:tx>
            <c:strRef>
              <c:f>'Chlorophyll a and b Absorpt (2)'!$M$1</c:f>
              <c:strCache>
                <c:ptCount val="1"/>
                <c:pt idx="0">
                  <c:v>Chlorophyll b</c:v>
                </c:pt>
              </c:strCache>
            </c:strRef>
          </c:tx>
          <c:spPr>
            <a:ln>
              <a:solidFill>
                <a:srgbClr val="00B050"/>
              </a:solidFill>
              <a:prstDash val="solid"/>
            </a:ln>
          </c:spPr>
          <c:marker>
            <c:symbol val="none"/>
          </c:marker>
          <c:xVal>
            <c:numRef>
              <c:f>'Chlorophyll a and b Absorpt (2)'!$K$2:$K$103</c:f>
              <c:numCache>
                <c:formatCode>General</c:formatCode>
                <c:ptCount val="102"/>
                <c:pt idx="1">
                  <c:v>360</c:v>
                </c:pt>
                <c:pt idx="2">
                  <c:v>365</c:v>
                </c:pt>
                <c:pt idx="3">
                  <c:v>370</c:v>
                </c:pt>
                <c:pt idx="4">
                  <c:v>375</c:v>
                </c:pt>
                <c:pt idx="5">
                  <c:v>380</c:v>
                </c:pt>
                <c:pt idx="6">
                  <c:v>385</c:v>
                </c:pt>
                <c:pt idx="7">
                  <c:v>390</c:v>
                </c:pt>
                <c:pt idx="8">
                  <c:v>395</c:v>
                </c:pt>
                <c:pt idx="9">
                  <c:v>400</c:v>
                </c:pt>
                <c:pt idx="10">
                  <c:v>405</c:v>
                </c:pt>
                <c:pt idx="11">
                  <c:v>410</c:v>
                </c:pt>
                <c:pt idx="12">
                  <c:v>415</c:v>
                </c:pt>
                <c:pt idx="13">
                  <c:v>420</c:v>
                </c:pt>
                <c:pt idx="14">
                  <c:v>425</c:v>
                </c:pt>
                <c:pt idx="15">
                  <c:v>430</c:v>
                </c:pt>
                <c:pt idx="16">
                  <c:v>435</c:v>
                </c:pt>
                <c:pt idx="17">
                  <c:v>440</c:v>
                </c:pt>
                <c:pt idx="18">
                  <c:v>445</c:v>
                </c:pt>
                <c:pt idx="19">
                  <c:v>450</c:v>
                </c:pt>
                <c:pt idx="20">
                  <c:v>455</c:v>
                </c:pt>
                <c:pt idx="21">
                  <c:v>460</c:v>
                </c:pt>
                <c:pt idx="22">
                  <c:v>465</c:v>
                </c:pt>
                <c:pt idx="23">
                  <c:v>470</c:v>
                </c:pt>
                <c:pt idx="24">
                  <c:v>475</c:v>
                </c:pt>
                <c:pt idx="25">
                  <c:v>480</c:v>
                </c:pt>
                <c:pt idx="26">
                  <c:v>485</c:v>
                </c:pt>
                <c:pt idx="27">
                  <c:v>490</c:v>
                </c:pt>
                <c:pt idx="28">
                  <c:v>495</c:v>
                </c:pt>
                <c:pt idx="29">
                  <c:v>500</c:v>
                </c:pt>
                <c:pt idx="30">
                  <c:v>505</c:v>
                </c:pt>
                <c:pt idx="31">
                  <c:v>510</c:v>
                </c:pt>
                <c:pt idx="32">
                  <c:v>515</c:v>
                </c:pt>
                <c:pt idx="33">
                  <c:v>520</c:v>
                </c:pt>
                <c:pt idx="34">
                  <c:v>525</c:v>
                </c:pt>
                <c:pt idx="35">
                  <c:v>530</c:v>
                </c:pt>
                <c:pt idx="36">
                  <c:v>535</c:v>
                </c:pt>
                <c:pt idx="37">
                  <c:v>540</c:v>
                </c:pt>
                <c:pt idx="38">
                  <c:v>545</c:v>
                </c:pt>
                <c:pt idx="39">
                  <c:v>550</c:v>
                </c:pt>
                <c:pt idx="40">
                  <c:v>555</c:v>
                </c:pt>
                <c:pt idx="41">
                  <c:v>560</c:v>
                </c:pt>
                <c:pt idx="42">
                  <c:v>565</c:v>
                </c:pt>
                <c:pt idx="43">
                  <c:v>570</c:v>
                </c:pt>
                <c:pt idx="44">
                  <c:v>575</c:v>
                </c:pt>
                <c:pt idx="45">
                  <c:v>580</c:v>
                </c:pt>
                <c:pt idx="46">
                  <c:v>585</c:v>
                </c:pt>
                <c:pt idx="47">
                  <c:v>590</c:v>
                </c:pt>
                <c:pt idx="48">
                  <c:v>595</c:v>
                </c:pt>
                <c:pt idx="49">
                  <c:v>600</c:v>
                </c:pt>
                <c:pt idx="50">
                  <c:v>605</c:v>
                </c:pt>
                <c:pt idx="51">
                  <c:v>610</c:v>
                </c:pt>
                <c:pt idx="52">
                  <c:v>615</c:v>
                </c:pt>
                <c:pt idx="53">
                  <c:v>620</c:v>
                </c:pt>
                <c:pt idx="54">
                  <c:v>625</c:v>
                </c:pt>
                <c:pt idx="55">
                  <c:v>630</c:v>
                </c:pt>
                <c:pt idx="56">
                  <c:v>635</c:v>
                </c:pt>
                <c:pt idx="57">
                  <c:v>640</c:v>
                </c:pt>
                <c:pt idx="58">
                  <c:v>645</c:v>
                </c:pt>
                <c:pt idx="59">
                  <c:v>650</c:v>
                </c:pt>
                <c:pt idx="60">
                  <c:v>655</c:v>
                </c:pt>
                <c:pt idx="61">
                  <c:v>660</c:v>
                </c:pt>
                <c:pt idx="62">
                  <c:v>665</c:v>
                </c:pt>
                <c:pt idx="63">
                  <c:v>670</c:v>
                </c:pt>
                <c:pt idx="64">
                  <c:v>675</c:v>
                </c:pt>
                <c:pt idx="65">
                  <c:v>680</c:v>
                </c:pt>
                <c:pt idx="66">
                  <c:v>685</c:v>
                </c:pt>
                <c:pt idx="67">
                  <c:v>690</c:v>
                </c:pt>
                <c:pt idx="68">
                  <c:v>695</c:v>
                </c:pt>
                <c:pt idx="69">
                  <c:v>700</c:v>
                </c:pt>
                <c:pt idx="70">
                  <c:v>705</c:v>
                </c:pt>
                <c:pt idx="71">
                  <c:v>710</c:v>
                </c:pt>
                <c:pt idx="72">
                  <c:v>715</c:v>
                </c:pt>
                <c:pt idx="73">
                  <c:v>720</c:v>
                </c:pt>
                <c:pt idx="74">
                  <c:v>725</c:v>
                </c:pt>
                <c:pt idx="75">
                  <c:v>730</c:v>
                </c:pt>
                <c:pt idx="76">
                  <c:v>735</c:v>
                </c:pt>
                <c:pt idx="77">
                  <c:v>740</c:v>
                </c:pt>
                <c:pt idx="78">
                  <c:v>745</c:v>
                </c:pt>
                <c:pt idx="79">
                  <c:v>750</c:v>
                </c:pt>
                <c:pt idx="80">
                  <c:v>755</c:v>
                </c:pt>
                <c:pt idx="81">
                  <c:v>760</c:v>
                </c:pt>
                <c:pt idx="82">
                  <c:v>765</c:v>
                </c:pt>
                <c:pt idx="83">
                  <c:v>770</c:v>
                </c:pt>
                <c:pt idx="84">
                  <c:v>775</c:v>
                </c:pt>
                <c:pt idx="85">
                  <c:v>780</c:v>
                </c:pt>
                <c:pt idx="86">
                  <c:v>785</c:v>
                </c:pt>
                <c:pt idx="87">
                  <c:v>790</c:v>
                </c:pt>
                <c:pt idx="88">
                  <c:v>795</c:v>
                </c:pt>
                <c:pt idx="89">
                  <c:v>800</c:v>
                </c:pt>
                <c:pt idx="90">
                  <c:v>805</c:v>
                </c:pt>
                <c:pt idx="91">
                  <c:v>810</c:v>
                </c:pt>
                <c:pt idx="92">
                  <c:v>815</c:v>
                </c:pt>
                <c:pt idx="93">
                  <c:v>820</c:v>
                </c:pt>
                <c:pt idx="94">
                  <c:v>825</c:v>
                </c:pt>
                <c:pt idx="95">
                  <c:v>830</c:v>
                </c:pt>
                <c:pt idx="96">
                  <c:v>835</c:v>
                </c:pt>
                <c:pt idx="97">
                  <c:v>840</c:v>
                </c:pt>
                <c:pt idx="98">
                  <c:v>845</c:v>
                </c:pt>
                <c:pt idx="99">
                  <c:v>850</c:v>
                </c:pt>
                <c:pt idx="100">
                  <c:v>855</c:v>
                </c:pt>
                <c:pt idx="101">
                  <c:v>860</c:v>
                </c:pt>
              </c:numCache>
            </c:numRef>
          </c:xVal>
          <c:yVal>
            <c:numRef>
              <c:f>'Chlorophyll a and b Absorpt (2)'!$M$2:$M$103</c:f>
              <c:numCache>
                <c:formatCode>General</c:formatCode>
                <c:ptCount val="102"/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8.2942668412568379E-2</c:v>
                </c:pt>
                <c:pt idx="9">
                  <c:v>0.117330082053722</c:v>
                </c:pt>
                <c:pt idx="10">
                  <c:v>0.14838369850312338</c:v>
                </c:pt>
                <c:pt idx="11">
                  <c:v>0.18490060435291639</c:v>
                </c:pt>
                <c:pt idx="12">
                  <c:v>0.22579193946801601</c:v>
                </c:pt>
                <c:pt idx="13">
                  <c:v>0.26566101075732679</c:v>
                </c:pt>
                <c:pt idx="14">
                  <c:v>0.31802612324869756</c:v>
                </c:pt>
                <c:pt idx="15">
                  <c:v>0.33866799138879555</c:v>
                </c:pt>
                <c:pt idx="16">
                  <c:v>0.346395536748556</c:v>
                </c:pt>
                <c:pt idx="17">
                  <c:v>0.40052511889333275</c:v>
                </c:pt>
                <c:pt idx="18">
                  <c:v>0.49718231541786273</c:v>
                </c:pt>
                <c:pt idx="19">
                  <c:v>0.56778546588656498</c:v>
                </c:pt>
                <c:pt idx="20">
                  <c:v>0.76785029477192901</c:v>
                </c:pt>
                <c:pt idx="21">
                  <c:v>0.85839986488715603</c:v>
                </c:pt>
                <c:pt idx="22">
                  <c:v>0.84511466647802502</c:v>
                </c:pt>
                <c:pt idx="23">
                  <c:v>0.74695082287701164</c:v>
                </c:pt>
                <c:pt idx="24">
                  <c:v>0.54148406307983599</c:v>
                </c:pt>
                <c:pt idx="25">
                  <c:v>0.32481162750691089</c:v>
                </c:pt>
                <c:pt idx="26">
                  <c:v>0.153624748483778</c:v>
                </c:pt>
                <c:pt idx="27">
                  <c:v>9.4757374572664213E-2</c:v>
                </c:pt>
                <c:pt idx="28">
                  <c:v>6.9840193917005411E-2</c:v>
                </c:pt>
                <c:pt idx="29">
                  <c:v>5.0035823405627802E-2</c:v>
                </c:pt>
                <c:pt idx="30">
                  <c:v>3.9811113672382811E-2</c:v>
                </c:pt>
                <c:pt idx="31">
                  <c:v>3.2030478802400016E-2</c:v>
                </c:pt>
                <c:pt idx="32">
                  <c:v>2.7337579758243677E-2</c:v>
                </c:pt>
                <c:pt idx="33">
                  <c:v>2.4437242497943958E-2</c:v>
                </c:pt>
                <c:pt idx="34">
                  <c:v>2.3442578990627488E-2</c:v>
                </c:pt>
                <c:pt idx="35">
                  <c:v>1.9094230259069405E-2</c:v>
                </c:pt>
                <c:pt idx="36">
                  <c:v>1.4678033120831963E-2</c:v>
                </c:pt>
                <c:pt idx="37">
                  <c:v>1.0060520805768455E-2</c:v>
                </c:pt>
                <c:pt idx="38">
                  <c:v>6.1722406004958534E-3</c:v>
                </c:pt>
                <c:pt idx="39">
                  <c:v>5.30480033454703E-3</c:v>
                </c:pt>
                <c:pt idx="40">
                  <c:v>5.2808879028777098E-3</c:v>
                </c:pt>
                <c:pt idx="41">
                  <c:v>5.5351009394141544E-3</c:v>
                </c:pt>
                <c:pt idx="42">
                  <c:v>9.0487003047300014E-3</c:v>
                </c:pt>
                <c:pt idx="43">
                  <c:v>1.2582243005074292E-2</c:v>
                </c:pt>
                <c:pt idx="44">
                  <c:v>2.5774921891339678E-2</c:v>
                </c:pt>
                <c:pt idx="45">
                  <c:v>3.5399296629878611E-2</c:v>
                </c:pt>
                <c:pt idx="46">
                  <c:v>4.3179585260623286E-2</c:v>
                </c:pt>
                <c:pt idx="47">
                  <c:v>4.5763763771484001E-2</c:v>
                </c:pt>
                <c:pt idx="48">
                  <c:v>4.5028787123918404E-2</c:v>
                </c:pt>
                <c:pt idx="49">
                  <c:v>3.9446677653272297E-2</c:v>
                </c:pt>
                <c:pt idx="50">
                  <c:v>3.2583808913615321E-2</c:v>
                </c:pt>
                <c:pt idx="51">
                  <c:v>2.2658728007644801E-2</c:v>
                </c:pt>
                <c:pt idx="52">
                  <c:v>2.0333610701686201E-2</c:v>
                </c:pt>
                <c:pt idx="53">
                  <c:v>2.0134078485756414E-2</c:v>
                </c:pt>
                <c:pt idx="54">
                  <c:v>2.0399752929401511E-2</c:v>
                </c:pt>
                <c:pt idx="55">
                  <c:v>2.8758970285051502E-2</c:v>
                </c:pt>
                <c:pt idx="56">
                  <c:v>4.1786449051495513E-2</c:v>
                </c:pt>
                <c:pt idx="57">
                  <c:v>6.6162862294545599E-2</c:v>
                </c:pt>
                <c:pt idx="58">
                  <c:v>0.11770073477302424</c:v>
                </c:pt>
                <c:pt idx="59">
                  <c:v>0.26059368646121722</c:v>
                </c:pt>
                <c:pt idx="60">
                  <c:v>0.26915787543956632</c:v>
                </c:pt>
                <c:pt idx="61">
                  <c:v>0.22260324560468187</c:v>
                </c:pt>
                <c:pt idx="62">
                  <c:v>0.13030488752233363</c:v>
                </c:pt>
                <c:pt idx="63">
                  <c:v>7.37038937099804E-2</c:v>
                </c:pt>
                <c:pt idx="64">
                  <c:v>3.6411417960322504E-2</c:v>
                </c:pt>
                <c:pt idx="65">
                  <c:v>1.8527318298789151E-2</c:v>
                </c:pt>
                <c:pt idx="66">
                  <c:v>8.7306697573309201E-3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FDB7-47F0-B5EA-4A1E02502163}"/>
            </c:ext>
          </c:extLst>
        </c:ser>
        <c:ser>
          <c:idx val="2"/>
          <c:order val="2"/>
          <c:tx>
            <c:strRef>
              <c:f>'Chlorophyll a and b Absorpt (2)'!$N$1</c:f>
              <c:strCache>
                <c:ptCount val="1"/>
                <c:pt idx="0">
                  <c:v>Carotenoid</c:v>
                </c:pt>
              </c:strCache>
            </c:strRef>
          </c:tx>
          <c:spPr>
            <a:ln>
              <a:solidFill>
                <a:schemeClr val="accent6">
                  <a:lumMod val="60000"/>
                  <a:lumOff val="40000"/>
                </a:schemeClr>
              </a:solidFill>
              <a:prstDash val="solid"/>
            </a:ln>
          </c:spPr>
          <c:marker>
            <c:symbol val="none"/>
          </c:marker>
          <c:xVal>
            <c:numRef>
              <c:f>'Chlorophyll a and b Absorpt (2)'!$K$2:$K$103</c:f>
              <c:numCache>
                <c:formatCode>General</c:formatCode>
                <c:ptCount val="102"/>
                <c:pt idx="1">
                  <c:v>360</c:v>
                </c:pt>
                <c:pt idx="2">
                  <c:v>365</c:v>
                </c:pt>
                <c:pt idx="3">
                  <c:v>370</c:v>
                </c:pt>
                <c:pt idx="4">
                  <c:v>375</c:v>
                </c:pt>
                <c:pt idx="5">
                  <c:v>380</c:v>
                </c:pt>
                <c:pt idx="6">
                  <c:v>385</c:v>
                </c:pt>
                <c:pt idx="7">
                  <c:v>390</c:v>
                </c:pt>
                <c:pt idx="8">
                  <c:v>395</c:v>
                </c:pt>
                <c:pt idx="9">
                  <c:v>400</c:v>
                </c:pt>
                <c:pt idx="10">
                  <c:v>405</c:v>
                </c:pt>
                <c:pt idx="11">
                  <c:v>410</c:v>
                </c:pt>
                <c:pt idx="12">
                  <c:v>415</c:v>
                </c:pt>
                <c:pt idx="13">
                  <c:v>420</c:v>
                </c:pt>
                <c:pt idx="14">
                  <c:v>425</c:v>
                </c:pt>
                <c:pt idx="15">
                  <c:v>430</c:v>
                </c:pt>
                <c:pt idx="16">
                  <c:v>435</c:v>
                </c:pt>
                <c:pt idx="17">
                  <c:v>440</c:v>
                </c:pt>
                <c:pt idx="18">
                  <c:v>445</c:v>
                </c:pt>
                <c:pt idx="19">
                  <c:v>450</c:v>
                </c:pt>
                <c:pt idx="20">
                  <c:v>455</c:v>
                </c:pt>
                <c:pt idx="21">
                  <c:v>460</c:v>
                </c:pt>
                <c:pt idx="22">
                  <c:v>465</c:v>
                </c:pt>
                <c:pt idx="23">
                  <c:v>470</c:v>
                </c:pt>
                <c:pt idx="24">
                  <c:v>475</c:v>
                </c:pt>
                <c:pt idx="25">
                  <c:v>480</c:v>
                </c:pt>
                <c:pt idx="26">
                  <c:v>485</c:v>
                </c:pt>
                <c:pt idx="27">
                  <c:v>490</c:v>
                </c:pt>
                <c:pt idx="28">
                  <c:v>495</c:v>
                </c:pt>
                <c:pt idx="29">
                  <c:v>500</c:v>
                </c:pt>
                <c:pt idx="30">
                  <c:v>505</c:v>
                </c:pt>
                <c:pt idx="31">
                  <c:v>510</c:v>
                </c:pt>
                <c:pt idx="32">
                  <c:v>515</c:v>
                </c:pt>
                <c:pt idx="33">
                  <c:v>520</c:v>
                </c:pt>
                <c:pt idx="34">
                  <c:v>525</c:v>
                </c:pt>
                <c:pt idx="35">
                  <c:v>530</c:v>
                </c:pt>
                <c:pt idx="36">
                  <c:v>535</c:v>
                </c:pt>
                <c:pt idx="37">
                  <c:v>540</c:v>
                </c:pt>
                <c:pt idx="38">
                  <c:v>545</c:v>
                </c:pt>
                <c:pt idx="39">
                  <c:v>550</c:v>
                </c:pt>
                <c:pt idx="40">
                  <c:v>555</c:v>
                </c:pt>
                <c:pt idx="41">
                  <c:v>560</c:v>
                </c:pt>
                <c:pt idx="42">
                  <c:v>565</c:v>
                </c:pt>
                <c:pt idx="43">
                  <c:v>570</c:v>
                </c:pt>
                <c:pt idx="44">
                  <c:v>575</c:v>
                </c:pt>
                <c:pt idx="45">
                  <c:v>580</c:v>
                </c:pt>
                <c:pt idx="46">
                  <c:v>585</c:v>
                </c:pt>
                <c:pt idx="47">
                  <c:v>590</c:v>
                </c:pt>
                <c:pt idx="48">
                  <c:v>595</c:v>
                </c:pt>
                <c:pt idx="49">
                  <c:v>600</c:v>
                </c:pt>
                <c:pt idx="50">
                  <c:v>605</c:v>
                </c:pt>
                <c:pt idx="51">
                  <c:v>610</c:v>
                </c:pt>
                <c:pt idx="52">
                  <c:v>615</c:v>
                </c:pt>
                <c:pt idx="53">
                  <c:v>620</c:v>
                </c:pt>
                <c:pt idx="54">
                  <c:v>625</c:v>
                </c:pt>
                <c:pt idx="55">
                  <c:v>630</c:v>
                </c:pt>
                <c:pt idx="56">
                  <c:v>635</c:v>
                </c:pt>
                <c:pt idx="57">
                  <c:v>640</c:v>
                </c:pt>
                <c:pt idx="58">
                  <c:v>645</c:v>
                </c:pt>
                <c:pt idx="59">
                  <c:v>650</c:v>
                </c:pt>
                <c:pt idx="60">
                  <c:v>655</c:v>
                </c:pt>
                <c:pt idx="61">
                  <c:v>660</c:v>
                </c:pt>
                <c:pt idx="62">
                  <c:v>665</c:v>
                </c:pt>
                <c:pt idx="63">
                  <c:v>670</c:v>
                </c:pt>
                <c:pt idx="64">
                  <c:v>675</c:v>
                </c:pt>
                <c:pt idx="65">
                  <c:v>680</c:v>
                </c:pt>
                <c:pt idx="66">
                  <c:v>685</c:v>
                </c:pt>
                <c:pt idx="67">
                  <c:v>690</c:v>
                </c:pt>
                <c:pt idx="68">
                  <c:v>695</c:v>
                </c:pt>
                <c:pt idx="69">
                  <c:v>700</c:v>
                </c:pt>
                <c:pt idx="70">
                  <c:v>705</c:v>
                </c:pt>
                <c:pt idx="71">
                  <c:v>710</c:v>
                </c:pt>
                <c:pt idx="72">
                  <c:v>715</c:v>
                </c:pt>
                <c:pt idx="73">
                  <c:v>720</c:v>
                </c:pt>
                <c:pt idx="74">
                  <c:v>725</c:v>
                </c:pt>
                <c:pt idx="75">
                  <c:v>730</c:v>
                </c:pt>
                <c:pt idx="76">
                  <c:v>735</c:v>
                </c:pt>
                <c:pt idx="77">
                  <c:v>740</c:v>
                </c:pt>
                <c:pt idx="78">
                  <c:v>745</c:v>
                </c:pt>
                <c:pt idx="79">
                  <c:v>750</c:v>
                </c:pt>
                <c:pt idx="80">
                  <c:v>755</c:v>
                </c:pt>
                <c:pt idx="81">
                  <c:v>760</c:v>
                </c:pt>
                <c:pt idx="82">
                  <c:v>765</c:v>
                </c:pt>
                <c:pt idx="83">
                  <c:v>770</c:v>
                </c:pt>
                <c:pt idx="84">
                  <c:v>775</c:v>
                </c:pt>
                <c:pt idx="85">
                  <c:v>780</c:v>
                </c:pt>
                <c:pt idx="86">
                  <c:v>785</c:v>
                </c:pt>
                <c:pt idx="87">
                  <c:v>790</c:v>
                </c:pt>
                <c:pt idx="88">
                  <c:v>795</c:v>
                </c:pt>
                <c:pt idx="89">
                  <c:v>800</c:v>
                </c:pt>
                <c:pt idx="90">
                  <c:v>805</c:v>
                </c:pt>
                <c:pt idx="91">
                  <c:v>810</c:v>
                </c:pt>
                <c:pt idx="92">
                  <c:v>815</c:v>
                </c:pt>
                <c:pt idx="93">
                  <c:v>820</c:v>
                </c:pt>
                <c:pt idx="94">
                  <c:v>825</c:v>
                </c:pt>
                <c:pt idx="95">
                  <c:v>830</c:v>
                </c:pt>
                <c:pt idx="96">
                  <c:v>835</c:v>
                </c:pt>
                <c:pt idx="97">
                  <c:v>840</c:v>
                </c:pt>
                <c:pt idx="98">
                  <c:v>845</c:v>
                </c:pt>
                <c:pt idx="99">
                  <c:v>850</c:v>
                </c:pt>
                <c:pt idx="100">
                  <c:v>855</c:v>
                </c:pt>
                <c:pt idx="101">
                  <c:v>860</c:v>
                </c:pt>
              </c:numCache>
            </c:numRef>
          </c:xVal>
          <c:yVal>
            <c:numRef>
              <c:f>'Chlorophyll a and b Absorpt (2)'!$N$2:$N$103</c:f>
              <c:numCache>
                <c:formatCode>General</c:formatCode>
                <c:ptCount val="102"/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.21712276922259488</c:v>
                </c:pt>
                <c:pt idx="9">
                  <c:v>0.229810273606643</c:v>
                </c:pt>
                <c:pt idx="10">
                  <c:v>0.24431660672191199</c:v>
                </c:pt>
                <c:pt idx="11">
                  <c:v>0.26127841862326101</c:v>
                </c:pt>
                <c:pt idx="12">
                  <c:v>0.27772935170173879</c:v>
                </c:pt>
                <c:pt idx="13">
                  <c:v>0.29392842081062426</c:v>
                </c:pt>
                <c:pt idx="14">
                  <c:v>0.29837093084351501</c:v>
                </c:pt>
                <c:pt idx="15">
                  <c:v>0.27157175418233676</c:v>
                </c:pt>
                <c:pt idx="16">
                  <c:v>0.26786244652442198</c:v>
                </c:pt>
                <c:pt idx="17">
                  <c:v>0.30222422452470832</c:v>
                </c:pt>
                <c:pt idx="18">
                  <c:v>0.44368269473810401</c:v>
                </c:pt>
                <c:pt idx="19">
                  <c:v>0.51676315664216199</c:v>
                </c:pt>
                <c:pt idx="20">
                  <c:v>0.59473707117779251</c:v>
                </c:pt>
                <c:pt idx="21">
                  <c:v>0.60390700412734799</c:v>
                </c:pt>
                <c:pt idx="22">
                  <c:v>0.51019276235592059</c:v>
                </c:pt>
                <c:pt idx="23">
                  <c:v>0.44505168330393902</c:v>
                </c:pt>
                <c:pt idx="24">
                  <c:v>0.45622899214892998</c:v>
                </c:pt>
                <c:pt idx="25">
                  <c:v>0.53395480116402105</c:v>
                </c:pt>
                <c:pt idx="26">
                  <c:v>0.57121245086917805</c:v>
                </c:pt>
                <c:pt idx="27">
                  <c:v>0.57088894587419603</c:v>
                </c:pt>
                <c:pt idx="28">
                  <c:v>0.5424190207669346</c:v>
                </c:pt>
                <c:pt idx="29">
                  <c:v>0.464203467283196</c:v>
                </c:pt>
                <c:pt idx="30">
                  <c:v>0.33622296310826333</c:v>
                </c:pt>
                <c:pt idx="31">
                  <c:v>0.18775892039382538</c:v>
                </c:pt>
                <c:pt idx="32">
                  <c:v>8.4942163102955784E-2</c:v>
                </c:pt>
                <c:pt idx="33">
                  <c:v>3.1811539949642399E-2</c:v>
                </c:pt>
                <c:pt idx="34">
                  <c:v>1.0345521884885654E-2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FDB7-47F0-B5EA-4A1E02502163}"/>
            </c:ext>
          </c:extLst>
        </c:ser>
        <c:ser>
          <c:idx val="5"/>
          <c:order val="3"/>
          <c:tx>
            <c:strRef>
              <c:f>'Chlorophyll a and b Absorpt (2)'!$Q$1</c:f>
              <c:strCache>
                <c:ptCount val="1"/>
                <c:pt idx="0">
                  <c:v>Phytochrome Pr</c:v>
                </c:pt>
              </c:strCache>
            </c:strRef>
          </c:tx>
          <c:spPr>
            <a:ln>
              <a:solidFill>
                <a:srgbClr val="FF0000"/>
              </a:solidFill>
              <a:prstDash val="solid"/>
            </a:ln>
          </c:spPr>
          <c:marker>
            <c:symbol val="none"/>
          </c:marker>
          <c:xVal>
            <c:numRef>
              <c:f>'Chlorophyll a and b Absorpt (2)'!$K$2:$K$103</c:f>
              <c:numCache>
                <c:formatCode>General</c:formatCode>
                <c:ptCount val="102"/>
                <c:pt idx="1">
                  <c:v>360</c:v>
                </c:pt>
                <c:pt idx="2">
                  <c:v>365</c:v>
                </c:pt>
                <c:pt idx="3">
                  <c:v>370</c:v>
                </c:pt>
                <c:pt idx="4">
                  <c:v>375</c:v>
                </c:pt>
                <c:pt idx="5">
                  <c:v>380</c:v>
                </c:pt>
                <c:pt idx="6">
                  <c:v>385</c:v>
                </c:pt>
                <c:pt idx="7">
                  <c:v>390</c:v>
                </c:pt>
                <c:pt idx="8">
                  <c:v>395</c:v>
                </c:pt>
                <c:pt idx="9">
                  <c:v>400</c:v>
                </c:pt>
                <c:pt idx="10">
                  <c:v>405</c:v>
                </c:pt>
                <c:pt idx="11">
                  <c:v>410</c:v>
                </c:pt>
                <c:pt idx="12">
                  <c:v>415</c:v>
                </c:pt>
                <c:pt idx="13">
                  <c:v>420</c:v>
                </c:pt>
                <c:pt idx="14">
                  <c:v>425</c:v>
                </c:pt>
                <c:pt idx="15">
                  <c:v>430</c:v>
                </c:pt>
                <c:pt idx="16">
                  <c:v>435</c:v>
                </c:pt>
                <c:pt idx="17">
                  <c:v>440</c:v>
                </c:pt>
                <c:pt idx="18">
                  <c:v>445</c:v>
                </c:pt>
                <c:pt idx="19">
                  <c:v>450</c:v>
                </c:pt>
                <c:pt idx="20">
                  <c:v>455</c:v>
                </c:pt>
                <c:pt idx="21">
                  <c:v>460</c:v>
                </c:pt>
                <c:pt idx="22">
                  <c:v>465</c:v>
                </c:pt>
                <c:pt idx="23">
                  <c:v>470</c:v>
                </c:pt>
                <c:pt idx="24">
                  <c:v>475</c:v>
                </c:pt>
                <c:pt idx="25">
                  <c:v>480</c:v>
                </c:pt>
                <c:pt idx="26">
                  <c:v>485</c:v>
                </c:pt>
                <c:pt idx="27">
                  <c:v>490</c:v>
                </c:pt>
                <c:pt idx="28">
                  <c:v>495</c:v>
                </c:pt>
                <c:pt idx="29">
                  <c:v>500</c:v>
                </c:pt>
                <c:pt idx="30">
                  <c:v>505</c:v>
                </c:pt>
                <c:pt idx="31">
                  <c:v>510</c:v>
                </c:pt>
                <c:pt idx="32">
                  <c:v>515</c:v>
                </c:pt>
                <c:pt idx="33">
                  <c:v>520</c:v>
                </c:pt>
                <c:pt idx="34">
                  <c:v>525</c:v>
                </c:pt>
                <c:pt idx="35">
                  <c:v>530</c:v>
                </c:pt>
                <c:pt idx="36">
                  <c:v>535</c:v>
                </c:pt>
                <c:pt idx="37">
                  <c:v>540</c:v>
                </c:pt>
                <c:pt idx="38">
                  <c:v>545</c:v>
                </c:pt>
                <c:pt idx="39">
                  <c:v>550</c:v>
                </c:pt>
                <c:pt idx="40">
                  <c:v>555</c:v>
                </c:pt>
                <c:pt idx="41">
                  <c:v>560</c:v>
                </c:pt>
                <c:pt idx="42">
                  <c:v>565</c:v>
                </c:pt>
                <c:pt idx="43">
                  <c:v>570</c:v>
                </c:pt>
                <c:pt idx="44">
                  <c:v>575</c:v>
                </c:pt>
                <c:pt idx="45">
                  <c:v>580</c:v>
                </c:pt>
                <c:pt idx="46">
                  <c:v>585</c:v>
                </c:pt>
                <c:pt idx="47">
                  <c:v>590</c:v>
                </c:pt>
                <c:pt idx="48">
                  <c:v>595</c:v>
                </c:pt>
                <c:pt idx="49">
                  <c:v>600</c:v>
                </c:pt>
                <c:pt idx="50">
                  <c:v>605</c:v>
                </c:pt>
                <c:pt idx="51">
                  <c:v>610</c:v>
                </c:pt>
                <c:pt idx="52">
                  <c:v>615</c:v>
                </c:pt>
                <c:pt idx="53">
                  <c:v>620</c:v>
                </c:pt>
                <c:pt idx="54">
                  <c:v>625</c:v>
                </c:pt>
                <c:pt idx="55">
                  <c:v>630</c:v>
                </c:pt>
                <c:pt idx="56">
                  <c:v>635</c:v>
                </c:pt>
                <c:pt idx="57">
                  <c:v>640</c:v>
                </c:pt>
                <c:pt idx="58">
                  <c:v>645</c:v>
                </c:pt>
                <c:pt idx="59">
                  <c:v>650</c:v>
                </c:pt>
                <c:pt idx="60">
                  <c:v>655</c:v>
                </c:pt>
                <c:pt idx="61">
                  <c:v>660</c:v>
                </c:pt>
                <c:pt idx="62">
                  <c:v>665</c:v>
                </c:pt>
                <c:pt idx="63">
                  <c:v>670</c:v>
                </c:pt>
                <c:pt idx="64">
                  <c:v>675</c:v>
                </c:pt>
                <c:pt idx="65">
                  <c:v>680</c:v>
                </c:pt>
                <c:pt idx="66">
                  <c:v>685</c:v>
                </c:pt>
                <c:pt idx="67">
                  <c:v>690</c:v>
                </c:pt>
                <c:pt idx="68">
                  <c:v>695</c:v>
                </c:pt>
                <c:pt idx="69">
                  <c:v>700</c:v>
                </c:pt>
                <c:pt idx="70">
                  <c:v>705</c:v>
                </c:pt>
                <c:pt idx="71">
                  <c:v>710</c:v>
                </c:pt>
                <c:pt idx="72">
                  <c:v>715</c:v>
                </c:pt>
                <c:pt idx="73">
                  <c:v>720</c:v>
                </c:pt>
                <c:pt idx="74">
                  <c:v>725</c:v>
                </c:pt>
                <c:pt idx="75">
                  <c:v>730</c:v>
                </c:pt>
                <c:pt idx="76">
                  <c:v>735</c:v>
                </c:pt>
                <c:pt idx="77">
                  <c:v>740</c:v>
                </c:pt>
                <c:pt idx="78">
                  <c:v>745</c:v>
                </c:pt>
                <c:pt idx="79">
                  <c:v>750</c:v>
                </c:pt>
                <c:pt idx="80">
                  <c:v>755</c:v>
                </c:pt>
                <c:pt idx="81">
                  <c:v>760</c:v>
                </c:pt>
                <c:pt idx="82">
                  <c:v>765</c:v>
                </c:pt>
                <c:pt idx="83">
                  <c:v>770</c:v>
                </c:pt>
                <c:pt idx="84">
                  <c:v>775</c:v>
                </c:pt>
                <c:pt idx="85">
                  <c:v>780</c:v>
                </c:pt>
                <c:pt idx="86">
                  <c:v>785</c:v>
                </c:pt>
                <c:pt idx="87">
                  <c:v>790</c:v>
                </c:pt>
                <c:pt idx="88">
                  <c:v>795</c:v>
                </c:pt>
                <c:pt idx="89">
                  <c:v>800</c:v>
                </c:pt>
                <c:pt idx="90">
                  <c:v>805</c:v>
                </c:pt>
                <c:pt idx="91">
                  <c:v>810</c:v>
                </c:pt>
                <c:pt idx="92">
                  <c:v>815</c:v>
                </c:pt>
                <c:pt idx="93">
                  <c:v>820</c:v>
                </c:pt>
                <c:pt idx="94">
                  <c:v>825</c:v>
                </c:pt>
                <c:pt idx="95">
                  <c:v>830</c:v>
                </c:pt>
                <c:pt idx="96">
                  <c:v>835</c:v>
                </c:pt>
                <c:pt idx="97">
                  <c:v>840</c:v>
                </c:pt>
                <c:pt idx="98">
                  <c:v>845</c:v>
                </c:pt>
                <c:pt idx="99">
                  <c:v>850</c:v>
                </c:pt>
                <c:pt idx="100">
                  <c:v>855</c:v>
                </c:pt>
                <c:pt idx="101">
                  <c:v>860</c:v>
                </c:pt>
              </c:numCache>
            </c:numRef>
          </c:xVal>
          <c:yVal>
            <c:numRef>
              <c:f>'Chlorophyll a and b Absorpt (2)'!$Q$2:$Q$103</c:f>
              <c:numCache>
                <c:formatCode>General</c:formatCode>
                <c:ptCount val="102"/>
                <c:pt idx="1">
                  <c:v>0.24823521717725575</c:v>
                </c:pt>
                <c:pt idx="2">
                  <c:v>0.25747180582379697</c:v>
                </c:pt>
                <c:pt idx="3">
                  <c:v>0.272648360410291</c:v>
                </c:pt>
                <c:pt idx="4">
                  <c:v>0.27762071822993978</c:v>
                </c:pt>
                <c:pt idx="5">
                  <c:v>0.27913455375746732</c:v>
                </c:pt>
                <c:pt idx="6">
                  <c:v>0.25814099865781498</c:v>
                </c:pt>
                <c:pt idx="7">
                  <c:v>0.23416096315819801</c:v>
                </c:pt>
                <c:pt idx="8">
                  <c:v>0.19536544617417648</c:v>
                </c:pt>
                <c:pt idx="9">
                  <c:v>0.1492074097683968</c:v>
                </c:pt>
                <c:pt idx="10">
                  <c:v>0.1088507138904618</c:v>
                </c:pt>
                <c:pt idx="11">
                  <c:v>8.3460948730397291E-2</c:v>
                </c:pt>
                <c:pt idx="12">
                  <c:v>6.8249535647840406E-2</c:v>
                </c:pt>
                <c:pt idx="13">
                  <c:v>5.9417411161590085E-2</c:v>
                </c:pt>
                <c:pt idx="14">
                  <c:v>5.3544050047478087E-2</c:v>
                </c:pt>
                <c:pt idx="15">
                  <c:v>4.8206969071453699E-2</c:v>
                </c:pt>
                <c:pt idx="16">
                  <c:v>4.1403777898772323E-2</c:v>
                </c:pt>
                <c:pt idx="17">
                  <c:v>3.5723856838017702E-2</c:v>
                </c:pt>
                <c:pt idx="18">
                  <c:v>3.3855067459776109E-2</c:v>
                </c:pt>
                <c:pt idx="19">
                  <c:v>2.7027556724868711E-2</c:v>
                </c:pt>
                <c:pt idx="20">
                  <c:v>2.37086900572775E-2</c:v>
                </c:pt>
                <c:pt idx="21">
                  <c:v>2.181971390032298E-2</c:v>
                </c:pt>
                <c:pt idx="22">
                  <c:v>2.0285285421052009E-2</c:v>
                </c:pt>
                <c:pt idx="23">
                  <c:v>2.0307191291069001E-2</c:v>
                </c:pt>
                <c:pt idx="24">
                  <c:v>1.5890060432580903E-2</c:v>
                </c:pt>
                <c:pt idx="25">
                  <c:v>1.5906434458139905E-2</c:v>
                </c:pt>
                <c:pt idx="26">
                  <c:v>1.5930379728600747E-2</c:v>
                </c:pt>
                <c:pt idx="27">
                  <c:v>1.5949467254675605E-2</c:v>
                </c:pt>
                <c:pt idx="28">
                  <c:v>1.5967970807458501E-2</c:v>
                </c:pt>
                <c:pt idx="29">
                  <c:v>1.5986473760002454E-2</c:v>
                </c:pt>
                <c:pt idx="30">
                  <c:v>1.60012168843334E-2</c:v>
                </c:pt>
                <c:pt idx="31">
                  <c:v>1.6018330042511901E-2</c:v>
                </c:pt>
                <c:pt idx="32">
                  <c:v>2.0473881761823624E-2</c:v>
                </c:pt>
                <c:pt idx="33">
                  <c:v>2.0489536400053396E-2</c:v>
                </c:pt>
                <c:pt idx="34">
                  <c:v>2.1814786764683201E-2</c:v>
                </c:pt>
                <c:pt idx="35">
                  <c:v>2.644434170973679E-2</c:v>
                </c:pt>
                <c:pt idx="36">
                  <c:v>3.3331154046068401E-2</c:v>
                </c:pt>
                <c:pt idx="37">
                  <c:v>4.1346984201440409E-2</c:v>
                </c:pt>
                <c:pt idx="38">
                  <c:v>4.9363592603614434E-2</c:v>
                </c:pt>
                <c:pt idx="39">
                  <c:v>5.8639663424614401E-2</c:v>
                </c:pt>
                <c:pt idx="40">
                  <c:v>7.0745968405808907E-2</c:v>
                </c:pt>
                <c:pt idx="41">
                  <c:v>8.1884289766680024E-2</c:v>
                </c:pt>
                <c:pt idx="42">
                  <c:v>9.2520753202933501E-2</c:v>
                </c:pt>
                <c:pt idx="43">
                  <c:v>0.11019709016168602</c:v>
                </c:pt>
                <c:pt idx="44">
                  <c:v>0.12544188244355201</c:v>
                </c:pt>
                <c:pt idx="45">
                  <c:v>0.14791566465419842</c:v>
                </c:pt>
                <c:pt idx="46">
                  <c:v>0.18163809195480199</c:v>
                </c:pt>
                <c:pt idx="47">
                  <c:v>0.20779841682331263</c:v>
                </c:pt>
                <c:pt idx="48">
                  <c:v>0.2536488616728349</c:v>
                </c:pt>
                <c:pt idx="49">
                  <c:v>0.29152745309330302</c:v>
                </c:pt>
                <c:pt idx="50">
                  <c:v>0.33028688289964775</c:v>
                </c:pt>
                <c:pt idx="51">
                  <c:v>0.35943837551543878</c:v>
                </c:pt>
                <c:pt idx="52">
                  <c:v>0.37538349752037414</c:v>
                </c:pt>
                <c:pt idx="53">
                  <c:v>0.40045328882611703</c:v>
                </c:pt>
                <c:pt idx="54">
                  <c:v>0.42114194099253699</c:v>
                </c:pt>
                <c:pt idx="55">
                  <c:v>0.47129961203630022</c:v>
                </c:pt>
                <c:pt idx="56">
                  <c:v>0.52375479715839079</c:v>
                </c:pt>
                <c:pt idx="57">
                  <c:v>0.59513691118834444</c:v>
                </c:pt>
                <c:pt idx="58">
                  <c:v>0.68003824322322504</c:v>
                </c:pt>
                <c:pt idx="59">
                  <c:v>0.7715621264357575</c:v>
                </c:pt>
                <c:pt idx="60">
                  <c:v>0.85402691437758205</c:v>
                </c:pt>
                <c:pt idx="61">
                  <c:v>0.95396498681834996</c:v>
                </c:pt>
                <c:pt idx="62">
                  <c:v>0.997325966129602</c:v>
                </c:pt>
                <c:pt idx="63">
                  <c:v>0.98259971989269757</c:v>
                </c:pt>
                <c:pt idx="64">
                  <c:v>0.832142386897474</c:v>
                </c:pt>
                <c:pt idx="65">
                  <c:v>0.64318186158084978</c:v>
                </c:pt>
                <c:pt idx="66">
                  <c:v>0.42681937127432873</c:v>
                </c:pt>
                <c:pt idx="67">
                  <c:v>0.30473629256813473</c:v>
                </c:pt>
                <c:pt idx="68">
                  <c:v>0.15802305825823401</c:v>
                </c:pt>
                <c:pt idx="69">
                  <c:v>8.8558057228798545E-2</c:v>
                </c:pt>
                <c:pt idx="70">
                  <c:v>4.9886222494688888E-2</c:v>
                </c:pt>
                <c:pt idx="71">
                  <c:v>3.0265828519247178E-2</c:v>
                </c:pt>
                <c:pt idx="72">
                  <c:v>2.0997792150884199E-2</c:v>
                </c:pt>
                <c:pt idx="73">
                  <c:v>1.23694770266585E-2</c:v>
                </c:pt>
                <c:pt idx="74">
                  <c:v>1.2199235743988901E-2</c:v>
                </c:pt>
                <c:pt idx="75">
                  <c:v>7.9728827746566241E-3</c:v>
                </c:pt>
                <c:pt idx="76">
                  <c:v>7.9898415604916419E-3</c:v>
                </c:pt>
                <c:pt idx="77">
                  <c:v>8.0137422067665751E-3</c:v>
                </c:pt>
                <c:pt idx="78">
                  <c:v>8.0328802916984181E-3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3-FDB7-47F0-B5EA-4A1E02502163}"/>
            </c:ext>
          </c:extLst>
        </c:ser>
        <c:ser>
          <c:idx val="6"/>
          <c:order val="4"/>
          <c:tx>
            <c:strRef>
              <c:f>'Chlorophyll a and b Absorpt (2)'!$R$1</c:f>
              <c:strCache>
                <c:ptCount val="1"/>
                <c:pt idx="0">
                  <c:v>Phytochrome Pfr</c:v>
                </c:pt>
              </c:strCache>
            </c:strRef>
          </c:tx>
          <c:spPr>
            <a:ln>
              <a:solidFill>
                <a:srgbClr val="C00000"/>
              </a:solidFill>
              <a:prstDash val="solid"/>
            </a:ln>
          </c:spPr>
          <c:marker>
            <c:symbol val="none"/>
          </c:marker>
          <c:xVal>
            <c:numRef>
              <c:f>'Chlorophyll a and b Absorpt (2)'!$K$2:$K$103</c:f>
              <c:numCache>
                <c:formatCode>General</c:formatCode>
                <c:ptCount val="102"/>
                <c:pt idx="1">
                  <c:v>360</c:v>
                </c:pt>
                <c:pt idx="2">
                  <c:v>365</c:v>
                </c:pt>
                <c:pt idx="3">
                  <c:v>370</c:v>
                </c:pt>
                <c:pt idx="4">
                  <c:v>375</c:v>
                </c:pt>
                <c:pt idx="5">
                  <c:v>380</c:v>
                </c:pt>
                <c:pt idx="6">
                  <c:v>385</c:v>
                </c:pt>
                <c:pt idx="7">
                  <c:v>390</c:v>
                </c:pt>
                <c:pt idx="8">
                  <c:v>395</c:v>
                </c:pt>
                <c:pt idx="9">
                  <c:v>400</c:v>
                </c:pt>
                <c:pt idx="10">
                  <c:v>405</c:v>
                </c:pt>
                <c:pt idx="11">
                  <c:v>410</c:v>
                </c:pt>
                <c:pt idx="12">
                  <c:v>415</c:v>
                </c:pt>
                <c:pt idx="13">
                  <c:v>420</c:v>
                </c:pt>
                <c:pt idx="14">
                  <c:v>425</c:v>
                </c:pt>
                <c:pt idx="15">
                  <c:v>430</c:v>
                </c:pt>
                <c:pt idx="16">
                  <c:v>435</c:v>
                </c:pt>
                <c:pt idx="17">
                  <c:v>440</c:v>
                </c:pt>
                <c:pt idx="18">
                  <c:v>445</c:v>
                </c:pt>
                <c:pt idx="19">
                  <c:v>450</c:v>
                </c:pt>
                <c:pt idx="20">
                  <c:v>455</c:v>
                </c:pt>
                <c:pt idx="21">
                  <c:v>460</c:v>
                </c:pt>
                <c:pt idx="22">
                  <c:v>465</c:v>
                </c:pt>
                <c:pt idx="23">
                  <c:v>470</c:v>
                </c:pt>
                <c:pt idx="24">
                  <c:v>475</c:v>
                </c:pt>
                <c:pt idx="25">
                  <c:v>480</c:v>
                </c:pt>
                <c:pt idx="26">
                  <c:v>485</c:v>
                </c:pt>
                <c:pt idx="27">
                  <c:v>490</c:v>
                </c:pt>
                <c:pt idx="28">
                  <c:v>495</c:v>
                </c:pt>
                <c:pt idx="29">
                  <c:v>500</c:v>
                </c:pt>
                <c:pt idx="30">
                  <c:v>505</c:v>
                </c:pt>
                <c:pt idx="31">
                  <c:v>510</c:v>
                </c:pt>
                <c:pt idx="32">
                  <c:v>515</c:v>
                </c:pt>
                <c:pt idx="33">
                  <c:v>520</c:v>
                </c:pt>
                <c:pt idx="34">
                  <c:v>525</c:v>
                </c:pt>
                <c:pt idx="35">
                  <c:v>530</c:v>
                </c:pt>
                <c:pt idx="36">
                  <c:v>535</c:v>
                </c:pt>
                <c:pt idx="37">
                  <c:v>540</c:v>
                </c:pt>
                <c:pt idx="38">
                  <c:v>545</c:v>
                </c:pt>
                <c:pt idx="39">
                  <c:v>550</c:v>
                </c:pt>
                <c:pt idx="40">
                  <c:v>555</c:v>
                </c:pt>
                <c:pt idx="41">
                  <c:v>560</c:v>
                </c:pt>
                <c:pt idx="42">
                  <c:v>565</c:v>
                </c:pt>
                <c:pt idx="43">
                  <c:v>570</c:v>
                </c:pt>
                <c:pt idx="44">
                  <c:v>575</c:v>
                </c:pt>
                <c:pt idx="45">
                  <c:v>580</c:v>
                </c:pt>
                <c:pt idx="46">
                  <c:v>585</c:v>
                </c:pt>
                <c:pt idx="47">
                  <c:v>590</c:v>
                </c:pt>
                <c:pt idx="48">
                  <c:v>595</c:v>
                </c:pt>
                <c:pt idx="49">
                  <c:v>600</c:v>
                </c:pt>
                <c:pt idx="50">
                  <c:v>605</c:v>
                </c:pt>
                <c:pt idx="51">
                  <c:v>610</c:v>
                </c:pt>
                <c:pt idx="52">
                  <c:v>615</c:v>
                </c:pt>
                <c:pt idx="53">
                  <c:v>620</c:v>
                </c:pt>
                <c:pt idx="54">
                  <c:v>625</c:v>
                </c:pt>
                <c:pt idx="55">
                  <c:v>630</c:v>
                </c:pt>
                <c:pt idx="56">
                  <c:v>635</c:v>
                </c:pt>
                <c:pt idx="57">
                  <c:v>640</c:v>
                </c:pt>
                <c:pt idx="58">
                  <c:v>645</c:v>
                </c:pt>
                <c:pt idx="59">
                  <c:v>650</c:v>
                </c:pt>
                <c:pt idx="60">
                  <c:v>655</c:v>
                </c:pt>
                <c:pt idx="61">
                  <c:v>660</c:v>
                </c:pt>
                <c:pt idx="62">
                  <c:v>665</c:v>
                </c:pt>
                <c:pt idx="63">
                  <c:v>670</c:v>
                </c:pt>
                <c:pt idx="64">
                  <c:v>675</c:v>
                </c:pt>
                <c:pt idx="65">
                  <c:v>680</c:v>
                </c:pt>
                <c:pt idx="66">
                  <c:v>685</c:v>
                </c:pt>
                <c:pt idx="67">
                  <c:v>690</c:v>
                </c:pt>
                <c:pt idx="68">
                  <c:v>695</c:v>
                </c:pt>
                <c:pt idx="69">
                  <c:v>700</c:v>
                </c:pt>
                <c:pt idx="70">
                  <c:v>705</c:v>
                </c:pt>
                <c:pt idx="71">
                  <c:v>710</c:v>
                </c:pt>
                <c:pt idx="72">
                  <c:v>715</c:v>
                </c:pt>
                <c:pt idx="73">
                  <c:v>720</c:v>
                </c:pt>
                <c:pt idx="74">
                  <c:v>725</c:v>
                </c:pt>
                <c:pt idx="75">
                  <c:v>730</c:v>
                </c:pt>
                <c:pt idx="76">
                  <c:v>735</c:v>
                </c:pt>
                <c:pt idx="77">
                  <c:v>740</c:v>
                </c:pt>
                <c:pt idx="78">
                  <c:v>745</c:v>
                </c:pt>
                <c:pt idx="79">
                  <c:v>750</c:v>
                </c:pt>
                <c:pt idx="80">
                  <c:v>755</c:v>
                </c:pt>
                <c:pt idx="81">
                  <c:v>760</c:v>
                </c:pt>
                <c:pt idx="82">
                  <c:v>765</c:v>
                </c:pt>
                <c:pt idx="83">
                  <c:v>770</c:v>
                </c:pt>
                <c:pt idx="84">
                  <c:v>775</c:v>
                </c:pt>
                <c:pt idx="85">
                  <c:v>780</c:v>
                </c:pt>
                <c:pt idx="86">
                  <c:v>785</c:v>
                </c:pt>
                <c:pt idx="87">
                  <c:v>790</c:v>
                </c:pt>
                <c:pt idx="88">
                  <c:v>795</c:v>
                </c:pt>
                <c:pt idx="89">
                  <c:v>800</c:v>
                </c:pt>
                <c:pt idx="90">
                  <c:v>805</c:v>
                </c:pt>
                <c:pt idx="91">
                  <c:v>810</c:v>
                </c:pt>
                <c:pt idx="92">
                  <c:v>815</c:v>
                </c:pt>
                <c:pt idx="93">
                  <c:v>820</c:v>
                </c:pt>
                <c:pt idx="94">
                  <c:v>825</c:v>
                </c:pt>
                <c:pt idx="95">
                  <c:v>830</c:v>
                </c:pt>
                <c:pt idx="96">
                  <c:v>835</c:v>
                </c:pt>
                <c:pt idx="97">
                  <c:v>840</c:v>
                </c:pt>
                <c:pt idx="98">
                  <c:v>845</c:v>
                </c:pt>
                <c:pt idx="99">
                  <c:v>850</c:v>
                </c:pt>
                <c:pt idx="100">
                  <c:v>855</c:v>
                </c:pt>
                <c:pt idx="101">
                  <c:v>860</c:v>
                </c:pt>
              </c:numCache>
            </c:numRef>
          </c:xVal>
          <c:yVal>
            <c:numRef>
              <c:f>'Chlorophyll a and b Absorpt (2)'!$R$2:$R$103</c:f>
              <c:numCache>
                <c:formatCode>General</c:formatCode>
                <c:ptCount val="102"/>
                <c:pt idx="1">
                  <c:v>0.19426765082748151</c:v>
                </c:pt>
                <c:pt idx="2">
                  <c:v>0.21221212179859042</c:v>
                </c:pt>
                <c:pt idx="3">
                  <c:v>0.22527137622893967</c:v>
                </c:pt>
                <c:pt idx="4">
                  <c:v>0.230910966408052</c:v>
                </c:pt>
                <c:pt idx="5">
                  <c:v>0.23079486253401599</c:v>
                </c:pt>
                <c:pt idx="6">
                  <c:v>0.22463025654034038</c:v>
                </c:pt>
                <c:pt idx="7">
                  <c:v>0.20678510724535901</c:v>
                </c:pt>
                <c:pt idx="8">
                  <c:v>0.17913986050733363</c:v>
                </c:pt>
                <c:pt idx="9">
                  <c:v>0.12708682795109988</c:v>
                </c:pt>
                <c:pt idx="10">
                  <c:v>9.7557224571994228E-2</c:v>
                </c:pt>
                <c:pt idx="11">
                  <c:v>7.5387899252935944E-2</c:v>
                </c:pt>
                <c:pt idx="12">
                  <c:v>6.2608073327956995E-2</c:v>
                </c:pt>
                <c:pt idx="13">
                  <c:v>5.0948183842524197E-2</c:v>
                </c:pt>
                <c:pt idx="14">
                  <c:v>4.2564135325488903E-2</c:v>
                </c:pt>
                <c:pt idx="15">
                  <c:v>3.5073931371416227E-2</c:v>
                </c:pt>
                <c:pt idx="16">
                  <c:v>2.8224684439290621E-2</c:v>
                </c:pt>
                <c:pt idx="17">
                  <c:v>2.2577735020346018E-2</c:v>
                </c:pt>
                <c:pt idx="18">
                  <c:v>1.820107278986817E-2</c:v>
                </c:pt>
                <c:pt idx="19">
                  <c:v>1.3263799324151501E-2</c:v>
                </c:pt>
                <c:pt idx="20">
                  <c:v>9.7090349360530511E-3</c:v>
                </c:pt>
                <c:pt idx="21">
                  <c:v>8.00497945660247E-3</c:v>
                </c:pt>
                <c:pt idx="22">
                  <c:v>3.8988219328291002E-3</c:v>
                </c:pt>
                <c:pt idx="23">
                  <c:v>3.0118834978741498E-3</c:v>
                </c:pt>
                <c:pt idx="24">
                  <c:v>2.2788125838132467E-3</c:v>
                </c:pt>
                <c:pt idx="25">
                  <c:v>1.6863900644107296E-3</c:v>
                </c:pt>
                <c:pt idx="26">
                  <c:v>1.2213968134308899E-3</c:v>
                </c:pt>
                <c:pt idx="27">
                  <c:v>8.7061370463808227E-4</c:v>
                </c:pt>
                <c:pt idx="28">
                  <c:v>6.2082161179662814E-4</c:v>
                </c:pt>
                <c:pt idx="29">
                  <c:v>4.5880140867085199E-4</c:v>
                </c:pt>
                <c:pt idx="30">
                  <c:v>3.7133396902508446E-4</c:v>
                </c:pt>
                <c:pt idx="31">
                  <c:v>3.4520032498626412E-4</c:v>
                </c:pt>
                <c:pt idx="32">
                  <c:v>3.6157767193159633E-4</c:v>
                </c:pt>
                <c:pt idx="33">
                  <c:v>9.7991715299172505E-4</c:v>
                </c:pt>
                <c:pt idx="34">
                  <c:v>4.5318275033533638E-3</c:v>
                </c:pt>
                <c:pt idx="35">
                  <c:v>5.1260202359503524E-3</c:v>
                </c:pt>
                <c:pt idx="36">
                  <c:v>8.2315171015822398E-3</c:v>
                </c:pt>
                <c:pt idx="37">
                  <c:v>1.1046727947412557E-2</c:v>
                </c:pt>
                <c:pt idx="38">
                  <c:v>1.3861938761946401E-2</c:v>
                </c:pt>
                <c:pt idx="39">
                  <c:v>1.6597625608764547E-2</c:v>
                </c:pt>
                <c:pt idx="40">
                  <c:v>2.163163731582006E-2</c:v>
                </c:pt>
                <c:pt idx="41">
                  <c:v>2.4861429594262078E-2</c:v>
                </c:pt>
                <c:pt idx="42">
                  <c:v>2.9107478865232798E-2</c:v>
                </c:pt>
                <c:pt idx="43">
                  <c:v>3.4432070367030498E-2</c:v>
                </c:pt>
                <c:pt idx="44">
                  <c:v>3.9166535608933503E-2</c:v>
                </c:pt>
                <c:pt idx="45">
                  <c:v>4.4813377090029291E-2</c:v>
                </c:pt>
                <c:pt idx="46">
                  <c:v>5.1512873009247104E-2</c:v>
                </c:pt>
                <c:pt idx="47">
                  <c:v>5.7720340071962299E-2</c:v>
                </c:pt>
                <c:pt idx="48">
                  <c:v>6.4770269942709888E-2</c:v>
                </c:pt>
                <c:pt idx="49">
                  <c:v>7.2115372286747498E-2</c:v>
                </c:pt>
                <c:pt idx="50">
                  <c:v>7.984130985907742E-2</c:v>
                </c:pt>
                <c:pt idx="51">
                  <c:v>8.6891527165012764E-2</c:v>
                </c:pt>
                <c:pt idx="52">
                  <c:v>9.6390267273254504E-2</c:v>
                </c:pt>
                <c:pt idx="53">
                  <c:v>0.10460397195028545</c:v>
                </c:pt>
                <c:pt idx="54">
                  <c:v>0.11542292061866602</c:v>
                </c:pt>
                <c:pt idx="55">
                  <c:v>0.12862118075951287</c:v>
                </c:pt>
                <c:pt idx="56">
                  <c:v>0.14350790066501201</c:v>
                </c:pt>
                <c:pt idx="57">
                  <c:v>0.15952134624867001</c:v>
                </c:pt>
                <c:pt idx="58">
                  <c:v>0.18205714387441851</c:v>
                </c:pt>
                <c:pt idx="59">
                  <c:v>0.21156989545377838</c:v>
                </c:pt>
                <c:pt idx="60">
                  <c:v>0.24152373623558687</c:v>
                </c:pt>
                <c:pt idx="61">
                  <c:v>0.27201932578242038</c:v>
                </c:pt>
                <c:pt idx="62">
                  <c:v>0.29888220946503902</c:v>
                </c:pt>
                <c:pt idx="63">
                  <c:v>0.31204568429790225</c:v>
                </c:pt>
                <c:pt idx="64">
                  <c:v>0.31508983856449901</c:v>
                </c:pt>
                <c:pt idx="65">
                  <c:v>0.31417685613011498</c:v>
                </c:pt>
                <c:pt idx="66">
                  <c:v>0.31469723951950701</c:v>
                </c:pt>
                <c:pt idx="67">
                  <c:v>0.31810220051697102</c:v>
                </c:pt>
                <c:pt idx="68">
                  <c:v>0.33213195794078032</c:v>
                </c:pt>
                <c:pt idx="69">
                  <c:v>0.35240117618609701</c:v>
                </c:pt>
                <c:pt idx="70">
                  <c:v>0.37142221966723338</c:v>
                </c:pt>
                <c:pt idx="71">
                  <c:v>0.39583500752916689</c:v>
                </c:pt>
                <c:pt idx="72">
                  <c:v>0.41596061338213214</c:v>
                </c:pt>
                <c:pt idx="73">
                  <c:v>0.43408697349408998</c:v>
                </c:pt>
                <c:pt idx="74">
                  <c:v>0.4508482798864929</c:v>
                </c:pt>
                <c:pt idx="75">
                  <c:v>0.45974285210270599</c:v>
                </c:pt>
                <c:pt idx="76">
                  <c:v>0.44441513613843076</c:v>
                </c:pt>
                <c:pt idx="77">
                  <c:v>0.35618171927585479</c:v>
                </c:pt>
                <c:pt idx="78">
                  <c:v>0.25069312828936574</c:v>
                </c:pt>
                <c:pt idx="79">
                  <c:v>0.18454461110918999</c:v>
                </c:pt>
                <c:pt idx="80">
                  <c:v>0.14987941150114548</c:v>
                </c:pt>
                <c:pt idx="81">
                  <c:v>0.12065504550672219</c:v>
                </c:pt>
                <c:pt idx="82">
                  <c:v>0.10121371708825529</c:v>
                </c:pt>
                <c:pt idx="83">
                  <c:v>8.4987065484664198E-2</c:v>
                </c:pt>
                <c:pt idx="84">
                  <c:v>6.9712238194783338E-2</c:v>
                </c:pt>
                <c:pt idx="85">
                  <c:v>5.9192294111667376E-2</c:v>
                </c:pt>
                <c:pt idx="86">
                  <c:v>4.8311513523059096E-2</c:v>
                </c:pt>
                <c:pt idx="87">
                  <c:v>3.9500672104384897E-2</c:v>
                </c:pt>
                <c:pt idx="88">
                  <c:v>3.1432649724099239E-2</c:v>
                </c:pt>
                <c:pt idx="89">
                  <c:v>2.5347754437470602E-2</c:v>
                </c:pt>
                <c:pt idx="90">
                  <c:v>1.93092473256238E-2</c:v>
                </c:pt>
                <c:pt idx="91">
                  <c:v>1.3903574603274654E-2</c:v>
                </c:pt>
                <c:pt idx="92">
                  <c:v>1.1019233671339694E-2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4-FDB7-47F0-B5EA-4A1E025021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7867264"/>
        <c:axId val="117869184"/>
      </c:scatterChart>
      <c:valAx>
        <c:axId val="117867264"/>
        <c:scaling>
          <c:orientation val="minMax"/>
          <c:max val="820"/>
          <c:min val="400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ru-RU"/>
                  <a:t>Длина волны, нм</a:t>
                </a:r>
              </a:p>
            </c:rich>
          </c:tx>
          <c:layout>
            <c:manualLayout>
              <c:xMode val="edge"/>
              <c:yMode val="edge"/>
              <c:x val="0.36210849257490008"/>
              <c:y val="0.91989478646516765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crossAx val="117869184"/>
        <c:crosses val="autoZero"/>
        <c:crossBetween val="midCat"/>
      </c:valAx>
      <c:valAx>
        <c:axId val="117869184"/>
        <c:scaling>
          <c:orientation val="minMax"/>
          <c:max val="1"/>
          <c:min val="0"/>
        </c:scaling>
        <c:delete val="1"/>
        <c:axPos val="l"/>
        <c:majorGridlines/>
        <c:numFmt formatCode="General" sourceLinked="1"/>
        <c:majorTickMark val="out"/>
        <c:minorTickMark val="none"/>
        <c:tickLblPos val="none"/>
        <c:crossAx val="117867264"/>
        <c:crosses val="autoZero"/>
        <c:crossBetween val="midCat"/>
      </c:valAx>
      <c:spPr>
        <a:ln>
          <a:solidFill>
            <a:schemeClr val="tx1"/>
          </a:solidFill>
        </a:ln>
      </c:spPr>
    </c:plotArea>
    <c:legend>
      <c:legendPos val="r"/>
      <c:layout>
        <c:manualLayout>
          <c:xMode val="edge"/>
          <c:yMode val="edge"/>
          <c:x val="6.3532755619745959E-2"/>
          <c:y val="2.3483857918920829E-3"/>
          <c:w val="0.87365832808700272"/>
          <c:h val="0.10000669441287152"/>
        </c:manualLayout>
      </c:layout>
      <c:overlay val="0"/>
      <c:spPr>
        <a:noFill/>
      </c:spPr>
      <c:txPr>
        <a:bodyPr/>
        <a:lstStyle/>
        <a:p>
          <a:pPr>
            <a:defRPr sz="105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200" b="1">
          <a:latin typeface="Arial" pitchFamily="34" charset="0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0571006206607228E-2"/>
          <c:y val="4.174583518306467E-2"/>
          <c:w val="0.89728463006597969"/>
          <c:h val="0.86111762735889796"/>
        </c:manualLayout>
      </c:layout>
      <c:scatterChart>
        <c:scatterStyle val="smoothMarker"/>
        <c:varyColors val="0"/>
        <c:ser>
          <c:idx val="0"/>
          <c:order val="0"/>
          <c:tx>
            <c:strRef>
              <c:f>'Chlorophyll a and b Absorpt (2)'!$L$1</c:f>
              <c:strCache>
                <c:ptCount val="1"/>
                <c:pt idx="0">
                  <c:v>Chlorophyll a</c:v>
                </c:pt>
              </c:strCache>
            </c:strRef>
          </c:tx>
          <c:spPr>
            <a:ln>
              <a:solidFill>
                <a:srgbClr val="92D050"/>
              </a:solidFill>
            </a:ln>
          </c:spPr>
          <c:marker>
            <c:symbol val="none"/>
          </c:marker>
          <c:xVal>
            <c:numRef>
              <c:f>'Chlorophyll a and b Absorpt (2)'!$K$3:$K$103</c:f>
              <c:numCache>
                <c:formatCode>General</c:formatCode>
                <c:ptCount val="101"/>
                <c:pt idx="0">
                  <c:v>360</c:v>
                </c:pt>
                <c:pt idx="1">
                  <c:v>365</c:v>
                </c:pt>
                <c:pt idx="2">
                  <c:v>370</c:v>
                </c:pt>
                <c:pt idx="3">
                  <c:v>375</c:v>
                </c:pt>
                <c:pt idx="4">
                  <c:v>380</c:v>
                </c:pt>
                <c:pt idx="5">
                  <c:v>385</c:v>
                </c:pt>
                <c:pt idx="6">
                  <c:v>390</c:v>
                </c:pt>
                <c:pt idx="7">
                  <c:v>395</c:v>
                </c:pt>
                <c:pt idx="8">
                  <c:v>400</c:v>
                </c:pt>
                <c:pt idx="9">
                  <c:v>405</c:v>
                </c:pt>
                <c:pt idx="10">
                  <c:v>410</c:v>
                </c:pt>
                <c:pt idx="11">
                  <c:v>415</c:v>
                </c:pt>
                <c:pt idx="12">
                  <c:v>420</c:v>
                </c:pt>
                <c:pt idx="13">
                  <c:v>425</c:v>
                </c:pt>
                <c:pt idx="14">
                  <c:v>430</c:v>
                </c:pt>
                <c:pt idx="15">
                  <c:v>435</c:v>
                </c:pt>
                <c:pt idx="16">
                  <c:v>440</c:v>
                </c:pt>
                <c:pt idx="17">
                  <c:v>445</c:v>
                </c:pt>
                <c:pt idx="18">
                  <c:v>450</c:v>
                </c:pt>
                <c:pt idx="19">
                  <c:v>455</c:v>
                </c:pt>
                <c:pt idx="20">
                  <c:v>460</c:v>
                </c:pt>
                <c:pt idx="21">
                  <c:v>465</c:v>
                </c:pt>
                <c:pt idx="22">
                  <c:v>470</c:v>
                </c:pt>
                <c:pt idx="23">
                  <c:v>475</c:v>
                </c:pt>
                <c:pt idx="24">
                  <c:v>480</c:v>
                </c:pt>
                <c:pt idx="25">
                  <c:v>485</c:v>
                </c:pt>
                <c:pt idx="26">
                  <c:v>490</c:v>
                </c:pt>
                <c:pt idx="27">
                  <c:v>495</c:v>
                </c:pt>
                <c:pt idx="28">
                  <c:v>500</c:v>
                </c:pt>
                <c:pt idx="29">
                  <c:v>505</c:v>
                </c:pt>
                <c:pt idx="30">
                  <c:v>510</c:v>
                </c:pt>
                <c:pt idx="31">
                  <c:v>515</c:v>
                </c:pt>
                <c:pt idx="32">
                  <c:v>520</c:v>
                </c:pt>
                <c:pt idx="33">
                  <c:v>525</c:v>
                </c:pt>
                <c:pt idx="34">
                  <c:v>530</c:v>
                </c:pt>
                <c:pt idx="35">
                  <c:v>535</c:v>
                </c:pt>
                <c:pt idx="36">
                  <c:v>540</c:v>
                </c:pt>
                <c:pt idx="37">
                  <c:v>545</c:v>
                </c:pt>
                <c:pt idx="38">
                  <c:v>550</c:v>
                </c:pt>
                <c:pt idx="39">
                  <c:v>555</c:v>
                </c:pt>
                <c:pt idx="40">
                  <c:v>560</c:v>
                </c:pt>
                <c:pt idx="41">
                  <c:v>565</c:v>
                </c:pt>
                <c:pt idx="42">
                  <c:v>570</c:v>
                </c:pt>
                <c:pt idx="43">
                  <c:v>575</c:v>
                </c:pt>
                <c:pt idx="44">
                  <c:v>580</c:v>
                </c:pt>
                <c:pt idx="45">
                  <c:v>585</c:v>
                </c:pt>
                <c:pt idx="46">
                  <c:v>590</c:v>
                </c:pt>
                <c:pt idx="47">
                  <c:v>595</c:v>
                </c:pt>
                <c:pt idx="48">
                  <c:v>600</c:v>
                </c:pt>
                <c:pt idx="49">
                  <c:v>605</c:v>
                </c:pt>
                <c:pt idx="50">
                  <c:v>610</c:v>
                </c:pt>
                <c:pt idx="51">
                  <c:v>615</c:v>
                </c:pt>
                <c:pt idx="52">
                  <c:v>620</c:v>
                </c:pt>
                <c:pt idx="53">
                  <c:v>625</c:v>
                </c:pt>
                <c:pt idx="54">
                  <c:v>630</c:v>
                </c:pt>
                <c:pt idx="55">
                  <c:v>635</c:v>
                </c:pt>
                <c:pt idx="56">
                  <c:v>640</c:v>
                </c:pt>
                <c:pt idx="57">
                  <c:v>645</c:v>
                </c:pt>
                <c:pt idx="58">
                  <c:v>650</c:v>
                </c:pt>
                <c:pt idx="59">
                  <c:v>655</c:v>
                </c:pt>
                <c:pt idx="60">
                  <c:v>660</c:v>
                </c:pt>
                <c:pt idx="61">
                  <c:v>665</c:v>
                </c:pt>
                <c:pt idx="62">
                  <c:v>670</c:v>
                </c:pt>
                <c:pt idx="63">
                  <c:v>675</c:v>
                </c:pt>
                <c:pt idx="64">
                  <c:v>680</c:v>
                </c:pt>
                <c:pt idx="65">
                  <c:v>685</c:v>
                </c:pt>
                <c:pt idx="66">
                  <c:v>690</c:v>
                </c:pt>
                <c:pt idx="67">
                  <c:v>695</c:v>
                </c:pt>
                <c:pt idx="68">
                  <c:v>700</c:v>
                </c:pt>
                <c:pt idx="69">
                  <c:v>705</c:v>
                </c:pt>
                <c:pt idx="70">
                  <c:v>710</c:v>
                </c:pt>
                <c:pt idx="71">
                  <c:v>715</c:v>
                </c:pt>
                <c:pt idx="72">
                  <c:v>720</c:v>
                </c:pt>
                <c:pt idx="73">
                  <c:v>725</c:v>
                </c:pt>
                <c:pt idx="74">
                  <c:v>730</c:v>
                </c:pt>
                <c:pt idx="75">
                  <c:v>735</c:v>
                </c:pt>
                <c:pt idx="76">
                  <c:v>740</c:v>
                </c:pt>
                <c:pt idx="77">
                  <c:v>745</c:v>
                </c:pt>
                <c:pt idx="78">
                  <c:v>750</c:v>
                </c:pt>
                <c:pt idx="79">
                  <c:v>755</c:v>
                </c:pt>
                <c:pt idx="80">
                  <c:v>760</c:v>
                </c:pt>
                <c:pt idx="81">
                  <c:v>765</c:v>
                </c:pt>
                <c:pt idx="82">
                  <c:v>770</c:v>
                </c:pt>
                <c:pt idx="83">
                  <c:v>775</c:v>
                </c:pt>
                <c:pt idx="84">
                  <c:v>780</c:v>
                </c:pt>
                <c:pt idx="85">
                  <c:v>785</c:v>
                </c:pt>
                <c:pt idx="86">
                  <c:v>790</c:v>
                </c:pt>
                <c:pt idx="87">
                  <c:v>795</c:v>
                </c:pt>
                <c:pt idx="88">
                  <c:v>800</c:v>
                </c:pt>
                <c:pt idx="89">
                  <c:v>805</c:v>
                </c:pt>
                <c:pt idx="90">
                  <c:v>810</c:v>
                </c:pt>
                <c:pt idx="91">
                  <c:v>815</c:v>
                </c:pt>
                <c:pt idx="92">
                  <c:v>820</c:v>
                </c:pt>
                <c:pt idx="93">
                  <c:v>825</c:v>
                </c:pt>
                <c:pt idx="94">
                  <c:v>830</c:v>
                </c:pt>
                <c:pt idx="95">
                  <c:v>835</c:v>
                </c:pt>
                <c:pt idx="96">
                  <c:v>840</c:v>
                </c:pt>
                <c:pt idx="97">
                  <c:v>845</c:v>
                </c:pt>
                <c:pt idx="98">
                  <c:v>850</c:v>
                </c:pt>
                <c:pt idx="99">
                  <c:v>855</c:v>
                </c:pt>
                <c:pt idx="100">
                  <c:v>860</c:v>
                </c:pt>
              </c:numCache>
            </c:numRef>
          </c:xVal>
          <c:yVal>
            <c:numRef>
              <c:f>'Chlorophyll a and b Absorpt (2)'!$L$3:$L$103</c:f>
              <c:numCache>
                <c:formatCode>General</c:formatCode>
                <c:ptCount val="10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.42511249748884655</c:v>
                </c:pt>
                <c:pt idx="8">
                  <c:v>0.44337835334486397</c:v>
                </c:pt>
                <c:pt idx="9">
                  <c:v>0.42778582028649498</c:v>
                </c:pt>
                <c:pt idx="10">
                  <c:v>0.44745614777152776</c:v>
                </c:pt>
                <c:pt idx="11">
                  <c:v>0.54819299780545849</c:v>
                </c:pt>
                <c:pt idx="12">
                  <c:v>0.65216918456588779</c:v>
                </c:pt>
                <c:pt idx="13">
                  <c:v>0.65097662133066703</c:v>
                </c:pt>
                <c:pt idx="14">
                  <c:v>0.49123588619472308</c:v>
                </c:pt>
                <c:pt idx="15">
                  <c:v>0.27066063374694932</c:v>
                </c:pt>
                <c:pt idx="16">
                  <c:v>0.14769023579640975</c:v>
                </c:pt>
                <c:pt idx="17">
                  <c:v>9.8799737611833E-2</c:v>
                </c:pt>
                <c:pt idx="18">
                  <c:v>7.4874471743674412E-2</c:v>
                </c:pt>
                <c:pt idx="19">
                  <c:v>5.7393893710297933E-2</c:v>
                </c:pt>
                <c:pt idx="20">
                  <c:v>4.5693041552667901E-2</c:v>
                </c:pt>
                <c:pt idx="21">
                  <c:v>3.5595887344688798E-2</c:v>
                </c:pt>
                <c:pt idx="22">
                  <c:v>2.6395583235976478E-2</c:v>
                </c:pt>
                <c:pt idx="23">
                  <c:v>2.003503488612372E-2</c:v>
                </c:pt>
                <c:pt idx="24">
                  <c:v>1.63773348330143E-2</c:v>
                </c:pt>
                <c:pt idx="25">
                  <c:v>1.3285489611522963E-2</c:v>
                </c:pt>
                <c:pt idx="26">
                  <c:v>1.0193630374159098E-2</c:v>
                </c:pt>
                <c:pt idx="27">
                  <c:v>7.1013797702932733E-3</c:v>
                </c:pt>
                <c:pt idx="28">
                  <c:v>7.0778867662801802E-3</c:v>
                </c:pt>
                <c:pt idx="29">
                  <c:v>7.053769200785002E-3</c:v>
                </c:pt>
                <c:pt idx="30">
                  <c:v>9.3727297447643351E-3</c:v>
                </c:pt>
                <c:pt idx="31">
                  <c:v>1.19396936809728E-2</c:v>
                </c:pt>
                <c:pt idx="32">
                  <c:v>1.3118105739622733E-2</c:v>
                </c:pt>
                <c:pt idx="33">
                  <c:v>1.4695538847353603E-2</c:v>
                </c:pt>
                <c:pt idx="34">
                  <c:v>1.9283640935902107E-2</c:v>
                </c:pt>
                <c:pt idx="35">
                  <c:v>2.3017645249228901E-2</c:v>
                </c:pt>
                <c:pt idx="36">
                  <c:v>2.6027159304920999E-2</c:v>
                </c:pt>
                <c:pt idx="37">
                  <c:v>2.5270165197621985E-2</c:v>
                </c:pt>
                <c:pt idx="38">
                  <c:v>2.9668629585553802E-2</c:v>
                </c:pt>
                <c:pt idx="39">
                  <c:v>2.9057371064517216E-2</c:v>
                </c:pt>
                <c:pt idx="40">
                  <c:v>2.9554253403680199E-2</c:v>
                </c:pt>
                <c:pt idx="41">
                  <c:v>2.5941826010150756E-2</c:v>
                </c:pt>
                <c:pt idx="42">
                  <c:v>2.6398382980000606E-2</c:v>
                </c:pt>
                <c:pt idx="43">
                  <c:v>2.1432672237304651E-2</c:v>
                </c:pt>
                <c:pt idx="44">
                  <c:v>1.93152641594911E-2</c:v>
                </c:pt>
                <c:pt idx="45">
                  <c:v>1.8943115802432266E-2</c:v>
                </c:pt>
                <c:pt idx="46">
                  <c:v>1.5851270469511701E-2</c:v>
                </c:pt>
                <c:pt idx="47">
                  <c:v>1.8895292199158802E-2</c:v>
                </c:pt>
                <c:pt idx="48">
                  <c:v>2.1953362706567808E-2</c:v>
                </c:pt>
                <c:pt idx="49">
                  <c:v>2.9603402452497651E-2</c:v>
                </c:pt>
                <c:pt idx="50">
                  <c:v>3.8377974845122204E-2</c:v>
                </c:pt>
                <c:pt idx="51">
                  <c:v>3.8741210617363173E-2</c:v>
                </c:pt>
                <c:pt idx="52">
                  <c:v>3.8717298146191702E-2</c:v>
                </c:pt>
                <c:pt idx="53">
                  <c:v>3.56254529048168E-2</c:v>
                </c:pt>
                <c:pt idx="54">
                  <c:v>3.2533607860957305E-2</c:v>
                </c:pt>
                <c:pt idx="55">
                  <c:v>3.3031754747727897E-2</c:v>
                </c:pt>
                <c:pt idx="56">
                  <c:v>4.1576248623428701E-2</c:v>
                </c:pt>
                <c:pt idx="57">
                  <c:v>5.9368466128532651E-2</c:v>
                </c:pt>
                <c:pt idx="58">
                  <c:v>8.8065803666811229E-2</c:v>
                </c:pt>
                <c:pt idx="59">
                  <c:v>0.14087231921629101</c:v>
                </c:pt>
                <c:pt idx="60">
                  <c:v>0.24285640685754248</c:v>
                </c:pt>
                <c:pt idx="61">
                  <c:v>0.39615639223015114</c:v>
                </c:pt>
                <c:pt idx="62">
                  <c:v>0.47663520588947089</c:v>
                </c:pt>
                <c:pt idx="63">
                  <c:v>0.4499178030659069</c:v>
                </c:pt>
                <c:pt idx="64">
                  <c:v>0.31741287675459473</c:v>
                </c:pt>
                <c:pt idx="65">
                  <c:v>0.16525562265138297</c:v>
                </c:pt>
                <c:pt idx="66">
                  <c:v>6.9790792365254303E-2</c:v>
                </c:pt>
                <c:pt idx="67">
                  <c:v>2.6562514803889301E-2</c:v>
                </c:pt>
                <c:pt idx="68">
                  <c:v>1.5325206635299899E-2</c:v>
                </c:pt>
                <c:pt idx="69">
                  <c:v>1.00976272652059E-2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8372-476E-AABA-A3028386B2FF}"/>
            </c:ext>
          </c:extLst>
        </c:ser>
        <c:ser>
          <c:idx val="1"/>
          <c:order val="1"/>
          <c:tx>
            <c:strRef>
              <c:f>'Chlorophyll a and b Absorpt (2)'!$M$1</c:f>
              <c:strCache>
                <c:ptCount val="1"/>
                <c:pt idx="0">
                  <c:v>Chlorophyll b</c:v>
                </c:pt>
              </c:strCache>
            </c:strRef>
          </c:tx>
          <c:spPr>
            <a:ln>
              <a:solidFill>
                <a:srgbClr val="00B050"/>
              </a:solidFill>
            </a:ln>
          </c:spPr>
          <c:marker>
            <c:symbol val="none"/>
          </c:marker>
          <c:xVal>
            <c:numRef>
              <c:f>'Chlorophyll a and b Absorpt (2)'!$K$3:$K$103</c:f>
              <c:numCache>
                <c:formatCode>General</c:formatCode>
                <c:ptCount val="101"/>
                <c:pt idx="0">
                  <c:v>360</c:v>
                </c:pt>
                <c:pt idx="1">
                  <c:v>365</c:v>
                </c:pt>
                <c:pt idx="2">
                  <c:v>370</c:v>
                </c:pt>
                <c:pt idx="3">
                  <c:v>375</c:v>
                </c:pt>
                <c:pt idx="4">
                  <c:v>380</c:v>
                </c:pt>
                <c:pt idx="5">
                  <c:v>385</c:v>
                </c:pt>
                <c:pt idx="6">
                  <c:v>390</c:v>
                </c:pt>
                <c:pt idx="7">
                  <c:v>395</c:v>
                </c:pt>
                <c:pt idx="8">
                  <c:v>400</c:v>
                </c:pt>
                <c:pt idx="9">
                  <c:v>405</c:v>
                </c:pt>
                <c:pt idx="10">
                  <c:v>410</c:v>
                </c:pt>
                <c:pt idx="11">
                  <c:v>415</c:v>
                </c:pt>
                <c:pt idx="12">
                  <c:v>420</c:v>
                </c:pt>
                <c:pt idx="13">
                  <c:v>425</c:v>
                </c:pt>
                <c:pt idx="14">
                  <c:v>430</c:v>
                </c:pt>
                <c:pt idx="15">
                  <c:v>435</c:v>
                </c:pt>
                <c:pt idx="16">
                  <c:v>440</c:v>
                </c:pt>
                <c:pt idx="17">
                  <c:v>445</c:v>
                </c:pt>
                <c:pt idx="18">
                  <c:v>450</c:v>
                </c:pt>
                <c:pt idx="19">
                  <c:v>455</c:v>
                </c:pt>
                <c:pt idx="20">
                  <c:v>460</c:v>
                </c:pt>
                <c:pt idx="21">
                  <c:v>465</c:v>
                </c:pt>
                <c:pt idx="22">
                  <c:v>470</c:v>
                </c:pt>
                <c:pt idx="23">
                  <c:v>475</c:v>
                </c:pt>
                <c:pt idx="24">
                  <c:v>480</c:v>
                </c:pt>
                <c:pt idx="25">
                  <c:v>485</c:v>
                </c:pt>
                <c:pt idx="26">
                  <c:v>490</c:v>
                </c:pt>
                <c:pt idx="27">
                  <c:v>495</c:v>
                </c:pt>
                <c:pt idx="28">
                  <c:v>500</c:v>
                </c:pt>
                <c:pt idx="29">
                  <c:v>505</c:v>
                </c:pt>
                <c:pt idx="30">
                  <c:v>510</c:v>
                </c:pt>
                <c:pt idx="31">
                  <c:v>515</c:v>
                </c:pt>
                <c:pt idx="32">
                  <c:v>520</c:v>
                </c:pt>
                <c:pt idx="33">
                  <c:v>525</c:v>
                </c:pt>
                <c:pt idx="34">
                  <c:v>530</c:v>
                </c:pt>
                <c:pt idx="35">
                  <c:v>535</c:v>
                </c:pt>
                <c:pt idx="36">
                  <c:v>540</c:v>
                </c:pt>
                <c:pt idx="37">
                  <c:v>545</c:v>
                </c:pt>
                <c:pt idx="38">
                  <c:v>550</c:v>
                </c:pt>
                <c:pt idx="39">
                  <c:v>555</c:v>
                </c:pt>
                <c:pt idx="40">
                  <c:v>560</c:v>
                </c:pt>
                <c:pt idx="41">
                  <c:v>565</c:v>
                </c:pt>
                <c:pt idx="42">
                  <c:v>570</c:v>
                </c:pt>
                <c:pt idx="43">
                  <c:v>575</c:v>
                </c:pt>
                <c:pt idx="44">
                  <c:v>580</c:v>
                </c:pt>
                <c:pt idx="45">
                  <c:v>585</c:v>
                </c:pt>
                <c:pt idx="46">
                  <c:v>590</c:v>
                </c:pt>
                <c:pt idx="47">
                  <c:v>595</c:v>
                </c:pt>
                <c:pt idx="48">
                  <c:v>600</c:v>
                </c:pt>
                <c:pt idx="49">
                  <c:v>605</c:v>
                </c:pt>
                <c:pt idx="50">
                  <c:v>610</c:v>
                </c:pt>
                <c:pt idx="51">
                  <c:v>615</c:v>
                </c:pt>
                <c:pt idx="52">
                  <c:v>620</c:v>
                </c:pt>
                <c:pt idx="53">
                  <c:v>625</c:v>
                </c:pt>
                <c:pt idx="54">
                  <c:v>630</c:v>
                </c:pt>
                <c:pt idx="55">
                  <c:v>635</c:v>
                </c:pt>
                <c:pt idx="56">
                  <c:v>640</c:v>
                </c:pt>
                <c:pt idx="57">
                  <c:v>645</c:v>
                </c:pt>
                <c:pt idx="58">
                  <c:v>650</c:v>
                </c:pt>
                <c:pt idx="59">
                  <c:v>655</c:v>
                </c:pt>
                <c:pt idx="60">
                  <c:v>660</c:v>
                </c:pt>
                <c:pt idx="61">
                  <c:v>665</c:v>
                </c:pt>
                <c:pt idx="62">
                  <c:v>670</c:v>
                </c:pt>
                <c:pt idx="63">
                  <c:v>675</c:v>
                </c:pt>
                <c:pt idx="64">
                  <c:v>680</c:v>
                </c:pt>
                <c:pt idx="65">
                  <c:v>685</c:v>
                </c:pt>
                <c:pt idx="66">
                  <c:v>690</c:v>
                </c:pt>
                <c:pt idx="67">
                  <c:v>695</c:v>
                </c:pt>
                <c:pt idx="68">
                  <c:v>700</c:v>
                </c:pt>
                <c:pt idx="69">
                  <c:v>705</c:v>
                </c:pt>
                <c:pt idx="70">
                  <c:v>710</c:v>
                </c:pt>
                <c:pt idx="71">
                  <c:v>715</c:v>
                </c:pt>
                <c:pt idx="72">
                  <c:v>720</c:v>
                </c:pt>
                <c:pt idx="73">
                  <c:v>725</c:v>
                </c:pt>
                <c:pt idx="74">
                  <c:v>730</c:v>
                </c:pt>
                <c:pt idx="75">
                  <c:v>735</c:v>
                </c:pt>
                <c:pt idx="76">
                  <c:v>740</c:v>
                </c:pt>
                <c:pt idx="77">
                  <c:v>745</c:v>
                </c:pt>
                <c:pt idx="78">
                  <c:v>750</c:v>
                </c:pt>
                <c:pt idx="79">
                  <c:v>755</c:v>
                </c:pt>
                <c:pt idx="80">
                  <c:v>760</c:v>
                </c:pt>
                <c:pt idx="81">
                  <c:v>765</c:v>
                </c:pt>
                <c:pt idx="82">
                  <c:v>770</c:v>
                </c:pt>
                <c:pt idx="83">
                  <c:v>775</c:v>
                </c:pt>
                <c:pt idx="84">
                  <c:v>780</c:v>
                </c:pt>
                <c:pt idx="85">
                  <c:v>785</c:v>
                </c:pt>
                <c:pt idx="86">
                  <c:v>790</c:v>
                </c:pt>
                <c:pt idx="87">
                  <c:v>795</c:v>
                </c:pt>
                <c:pt idx="88">
                  <c:v>800</c:v>
                </c:pt>
                <c:pt idx="89">
                  <c:v>805</c:v>
                </c:pt>
                <c:pt idx="90">
                  <c:v>810</c:v>
                </c:pt>
                <c:pt idx="91">
                  <c:v>815</c:v>
                </c:pt>
                <c:pt idx="92">
                  <c:v>820</c:v>
                </c:pt>
                <c:pt idx="93">
                  <c:v>825</c:v>
                </c:pt>
                <c:pt idx="94">
                  <c:v>830</c:v>
                </c:pt>
                <c:pt idx="95">
                  <c:v>835</c:v>
                </c:pt>
                <c:pt idx="96">
                  <c:v>840</c:v>
                </c:pt>
                <c:pt idx="97">
                  <c:v>845</c:v>
                </c:pt>
                <c:pt idx="98">
                  <c:v>850</c:v>
                </c:pt>
                <c:pt idx="99">
                  <c:v>855</c:v>
                </c:pt>
                <c:pt idx="100">
                  <c:v>860</c:v>
                </c:pt>
              </c:numCache>
            </c:numRef>
          </c:xVal>
          <c:yVal>
            <c:numRef>
              <c:f>'Chlorophyll a and b Absorpt (2)'!$M$3:$M$103</c:f>
              <c:numCache>
                <c:formatCode>General</c:formatCode>
                <c:ptCount val="10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8.2942668412568379E-2</c:v>
                </c:pt>
                <c:pt idx="8">
                  <c:v>0.117330082053722</c:v>
                </c:pt>
                <c:pt idx="9">
                  <c:v>0.14838369850312338</c:v>
                </c:pt>
                <c:pt idx="10">
                  <c:v>0.18490060435291639</c:v>
                </c:pt>
                <c:pt idx="11">
                  <c:v>0.22579193946801601</c:v>
                </c:pt>
                <c:pt idx="12">
                  <c:v>0.26566101075732679</c:v>
                </c:pt>
                <c:pt idx="13">
                  <c:v>0.31802612324869756</c:v>
                </c:pt>
                <c:pt idx="14">
                  <c:v>0.33866799138879555</c:v>
                </c:pt>
                <c:pt idx="15">
                  <c:v>0.346395536748556</c:v>
                </c:pt>
                <c:pt idx="16">
                  <c:v>0.40052511889333275</c:v>
                </c:pt>
                <c:pt idx="17">
                  <c:v>0.49718231541786273</c:v>
                </c:pt>
                <c:pt idx="18">
                  <c:v>0.56778546588656498</c:v>
                </c:pt>
                <c:pt idx="19">
                  <c:v>0.76785029477192901</c:v>
                </c:pt>
                <c:pt idx="20">
                  <c:v>0.85839986488715603</c:v>
                </c:pt>
                <c:pt idx="21">
                  <c:v>0.84511466647802502</c:v>
                </c:pt>
                <c:pt idx="22">
                  <c:v>0.74695082287701164</c:v>
                </c:pt>
                <c:pt idx="23">
                  <c:v>0.54148406307983599</c:v>
                </c:pt>
                <c:pt idx="24">
                  <c:v>0.32481162750691089</c:v>
                </c:pt>
                <c:pt idx="25">
                  <c:v>0.153624748483778</c:v>
                </c:pt>
                <c:pt idx="26">
                  <c:v>9.4757374572664213E-2</c:v>
                </c:pt>
                <c:pt idx="27">
                  <c:v>6.9840193917005411E-2</c:v>
                </c:pt>
                <c:pt idx="28">
                  <c:v>5.0035823405627802E-2</c:v>
                </c:pt>
                <c:pt idx="29">
                  <c:v>3.9811113672382811E-2</c:v>
                </c:pt>
                <c:pt idx="30">
                  <c:v>3.2030478802400016E-2</c:v>
                </c:pt>
                <c:pt idx="31">
                  <c:v>2.7337579758243677E-2</c:v>
                </c:pt>
                <c:pt idx="32">
                  <c:v>2.4437242497943958E-2</c:v>
                </c:pt>
                <c:pt idx="33">
                  <c:v>2.3442578990627488E-2</c:v>
                </c:pt>
                <c:pt idx="34">
                  <c:v>1.9094230259069405E-2</c:v>
                </c:pt>
                <c:pt idx="35">
                  <c:v>1.4678033120831963E-2</c:v>
                </c:pt>
                <c:pt idx="36">
                  <c:v>1.0060520805768455E-2</c:v>
                </c:pt>
                <c:pt idx="37">
                  <c:v>6.1722406004958534E-3</c:v>
                </c:pt>
                <c:pt idx="38">
                  <c:v>5.30480033454703E-3</c:v>
                </c:pt>
                <c:pt idx="39">
                  <c:v>5.2808879028777098E-3</c:v>
                </c:pt>
                <c:pt idx="40">
                  <c:v>5.5351009394141544E-3</c:v>
                </c:pt>
                <c:pt idx="41">
                  <c:v>9.0487003047300014E-3</c:v>
                </c:pt>
                <c:pt idx="42">
                  <c:v>1.2582243005074292E-2</c:v>
                </c:pt>
                <c:pt idx="43">
                  <c:v>2.5774921891339678E-2</c:v>
                </c:pt>
                <c:pt idx="44">
                  <c:v>3.5399296629878611E-2</c:v>
                </c:pt>
                <c:pt idx="45">
                  <c:v>4.3179585260623286E-2</c:v>
                </c:pt>
                <c:pt idx="46">
                  <c:v>4.5763763771484001E-2</c:v>
                </c:pt>
                <c:pt idx="47">
                  <c:v>4.5028787123918404E-2</c:v>
                </c:pt>
                <c:pt idx="48">
                  <c:v>3.9446677653272297E-2</c:v>
                </c:pt>
                <c:pt idx="49">
                  <c:v>3.2583808913615321E-2</c:v>
                </c:pt>
                <c:pt idx="50">
                  <c:v>2.2658728007644801E-2</c:v>
                </c:pt>
                <c:pt idx="51">
                  <c:v>2.0333610701686201E-2</c:v>
                </c:pt>
                <c:pt idx="52">
                  <c:v>2.0134078485756414E-2</c:v>
                </c:pt>
                <c:pt idx="53">
                  <c:v>2.0399752929401511E-2</c:v>
                </c:pt>
                <c:pt idx="54">
                  <c:v>2.8758970285051502E-2</c:v>
                </c:pt>
                <c:pt idx="55">
                  <c:v>4.1786449051495513E-2</c:v>
                </c:pt>
                <c:pt idx="56">
                  <c:v>6.6162862294545599E-2</c:v>
                </c:pt>
                <c:pt idx="57">
                  <c:v>0.11770073477302424</c:v>
                </c:pt>
                <c:pt idx="58">
                  <c:v>0.26059368646121722</c:v>
                </c:pt>
                <c:pt idx="59">
                  <c:v>0.26915787543956632</c:v>
                </c:pt>
                <c:pt idx="60">
                  <c:v>0.22260324560468187</c:v>
                </c:pt>
                <c:pt idx="61">
                  <c:v>0.13030488752233363</c:v>
                </c:pt>
                <c:pt idx="62">
                  <c:v>7.37038937099804E-2</c:v>
                </c:pt>
                <c:pt idx="63">
                  <c:v>3.6411417960322504E-2</c:v>
                </c:pt>
                <c:pt idx="64">
                  <c:v>1.8527318298789151E-2</c:v>
                </c:pt>
                <c:pt idx="65">
                  <c:v>8.7306697573309201E-3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8372-476E-AABA-A3028386B2FF}"/>
            </c:ext>
          </c:extLst>
        </c:ser>
        <c:ser>
          <c:idx val="2"/>
          <c:order val="2"/>
          <c:tx>
            <c:strRef>
              <c:f>'Chlorophyll a and b Absorpt (2)'!$N$1</c:f>
              <c:strCache>
                <c:ptCount val="1"/>
                <c:pt idx="0">
                  <c:v>Carotenoid</c:v>
                </c:pt>
              </c:strCache>
            </c:strRef>
          </c:tx>
          <c:marker>
            <c:symbol val="none"/>
          </c:marker>
          <c:xVal>
            <c:numRef>
              <c:f>'Chlorophyll a and b Absorpt (2)'!$K$3:$K$103</c:f>
              <c:numCache>
                <c:formatCode>General</c:formatCode>
                <c:ptCount val="101"/>
                <c:pt idx="0">
                  <c:v>360</c:v>
                </c:pt>
                <c:pt idx="1">
                  <c:v>365</c:v>
                </c:pt>
                <c:pt idx="2">
                  <c:v>370</c:v>
                </c:pt>
                <c:pt idx="3">
                  <c:v>375</c:v>
                </c:pt>
                <c:pt idx="4">
                  <c:v>380</c:v>
                </c:pt>
                <c:pt idx="5">
                  <c:v>385</c:v>
                </c:pt>
                <c:pt idx="6">
                  <c:v>390</c:v>
                </c:pt>
                <c:pt idx="7">
                  <c:v>395</c:v>
                </c:pt>
                <c:pt idx="8">
                  <c:v>400</c:v>
                </c:pt>
                <c:pt idx="9">
                  <c:v>405</c:v>
                </c:pt>
                <c:pt idx="10">
                  <c:v>410</c:v>
                </c:pt>
                <c:pt idx="11">
                  <c:v>415</c:v>
                </c:pt>
                <c:pt idx="12">
                  <c:v>420</c:v>
                </c:pt>
                <c:pt idx="13">
                  <c:v>425</c:v>
                </c:pt>
                <c:pt idx="14">
                  <c:v>430</c:v>
                </c:pt>
                <c:pt idx="15">
                  <c:v>435</c:v>
                </c:pt>
                <c:pt idx="16">
                  <c:v>440</c:v>
                </c:pt>
                <c:pt idx="17">
                  <c:v>445</c:v>
                </c:pt>
                <c:pt idx="18">
                  <c:v>450</c:v>
                </c:pt>
                <c:pt idx="19">
                  <c:v>455</c:v>
                </c:pt>
                <c:pt idx="20">
                  <c:v>460</c:v>
                </c:pt>
                <c:pt idx="21">
                  <c:v>465</c:v>
                </c:pt>
                <c:pt idx="22">
                  <c:v>470</c:v>
                </c:pt>
                <c:pt idx="23">
                  <c:v>475</c:v>
                </c:pt>
                <c:pt idx="24">
                  <c:v>480</c:v>
                </c:pt>
                <c:pt idx="25">
                  <c:v>485</c:v>
                </c:pt>
                <c:pt idx="26">
                  <c:v>490</c:v>
                </c:pt>
                <c:pt idx="27">
                  <c:v>495</c:v>
                </c:pt>
                <c:pt idx="28">
                  <c:v>500</c:v>
                </c:pt>
                <c:pt idx="29">
                  <c:v>505</c:v>
                </c:pt>
                <c:pt idx="30">
                  <c:v>510</c:v>
                </c:pt>
                <c:pt idx="31">
                  <c:v>515</c:v>
                </c:pt>
                <c:pt idx="32">
                  <c:v>520</c:v>
                </c:pt>
                <c:pt idx="33">
                  <c:v>525</c:v>
                </c:pt>
                <c:pt idx="34">
                  <c:v>530</c:v>
                </c:pt>
                <c:pt idx="35">
                  <c:v>535</c:v>
                </c:pt>
                <c:pt idx="36">
                  <c:v>540</c:v>
                </c:pt>
                <c:pt idx="37">
                  <c:v>545</c:v>
                </c:pt>
                <c:pt idx="38">
                  <c:v>550</c:v>
                </c:pt>
                <c:pt idx="39">
                  <c:v>555</c:v>
                </c:pt>
                <c:pt idx="40">
                  <c:v>560</c:v>
                </c:pt>
                <c:pt idx="41">
                  <c:v>565</c:v>
                </c:pt>
                <c:pt idx="42">
                  <c:v>570</c:v>
                </c:pt>
                <c:pt idx="43">
                  <c:v>575</c:v>
                </c:pt>
                <c:pt idx="44">
                  <c:v>580</c:v>
                </c:pt>
                <c:pt idx="45">
                  <c:v>585</c:v>
                </c:pt>
                <c:pt idx="46">
                  <c:v>590</c:v>
                </c:pt>
                <c:pt idx="47">
                  <c:v>595</c:v>
                </c:pt>
                <c:pt idx="48">
                  <c:v>600</c:v>
                </c:pt>
                <c:pt idx="49">
                  <c:v>605</c:v>
                </c:pt>
                <c:pt idx="50">
                  <c:v>610</c:v>
                </c:pt>
                <c:pt idx="51">
                  <c:v>615</c:v>
                </c:pt>
                <c:pt idx="52">
                  <c:v>620</c:v>
                </c:pt>
                <c:pt idx="53">
                  <c:v>625</c:v>
                </c:pt>
                <c:pt idx="54">
                  <c:v>630</c:v>
                </c:pt>
                <c:pt idx="55">
                  <c:v>635</c:v>
                </c:pt>
                <c:pt idx="56">
                  <c:v>640</c:v>
                </c:pt>
                <c:pt idx="57">
                  <c:v>645</c:v>
                </c:pt>
                <c:pt idx="58">
                  <c:v>650</c:v>
                </c:pt>
                <c:pt idx="59">
                  <c:v>655</c:v>
                </c:pt>
                <c:pt idx="60">
                  <c:v>660</c:v>
                </c:pt>
                <c:pt idx="61">
                  <c:v>665</c:v>
                </c:pt>
                <c:pt idx="62">
                  <c:v>670</c:v>
                </c:pt>
                <c:pt idx="63">
                  <c:v>675</c:v>
                </c:pt>
                <c:pt idx="64">
                  <c:v>680</c:v>
                </c:pt>
                <c:pt idx="65">
                  <c:v>685</c:v>
                </c:pt>
                <c:pt idx="66">
                  <c:v>690</c:v>
                </c:pt>
                <c:pt idx="67">
                  <c:v>695</c:v>
                </c:pt>
                <c:pt idx="68">
                  <c:v>700</c:v>
                </c:pt>
                <c:pt idx="69">
                  <c:v>705</c:v>
                </c:pt>
                <c:pt idx="70">
                  <c:v>710</c:v>
                </c:pt>
                <c:pt idx="71">
                  <c:v>715</c:v>
                </c:pt>
                <c:pt idx="72">
                  <c:v>720</c:v>
                </c:pt>
                <c:pt idx="73">
                  <c:v>725</c:v>
                </c:pt>
                <c:pt idx="74">
                  <c:v>730</c:v>
                </c:pt>
                <c:pt idx="75">
                  <c:v>735</c:v>
                </c:pt>
                <c:pt idx="76">
                  <c:v>740</c:v>
                </c:pt>
                <c:pt idx="77">
                  <c:v>745</c:v>
                </c:pt>
                <c:pt idx="78">
                  <c:v>750</c:v>
                </c:pt>
                <c:pt idx="79">
                  <c:v>755</c:v>
                </c:pt>
                <c:pt idx="80">
                  <c:v>760</c:v>
                </c:pt>
                <c:pt idx="81">
                  <c:v>765</c:v>
                </c:pt>
                <c:pt idx="82">
                  <c:v>770</c:v>
                </c:pt>
                <c:pt idx="83">
                  <c:v>775</c:v>
                </c:pt>
                <c:pt idx="84">
                  <c:v>780</c:v>
                </c:pt>
                <c:pt idx="85">
                  <c:v>785</c:v>
                </c:pt>
                <c:pt idx="86">
                  <c:v>790</c:v>
                </c:pt>
                <c:pt idx="87">
                  <c:v>795</c:v>
                </c:pt>
                <c:pt idx="88">
                  <c:v>800</c:v>
                </c:pt>
                <c:pt idx="89">
                  <c:v>805</c:v>
                </c:pt>
                <c:pt idx="90">
                  <c:v>810</c:v>
                </c:pt>
                <c:pt idx="91">
                  <c:v>815</c:v>
                </c:pt>
                <c:pt idx="92">
                  <c:v>820</c:v>
                </c:pt>
                <c:pt idx="93">
                  <c:v>825</c:v>
                </c:pt>
                <c:pt idx="94">
                  <c:v>830</c:v>
                </c:pt>
                <c:pt idx="95">
                  <c:v>835</c:v>
                </c:pt>
                <c:pt idx="96">
                  <c:v>840</c:v>
                </c:pt>
                <c:pt idx="97">
                  <c:v>845</c:v>
                </c:pt>
                <c:pt idx="98">
                  <c:v>850</c:v>
                </c:pt>
                <c:pt idx="99">
                  <c:v>855</c:v>
                </c:pt>
                <c:pt idx="100">
                  <c:v>860</c:v>
                </c:pt>
              </c:numCache>
            </c:numRef>
          </c:xVal>
          <c:yVal>
            <c:numRef>
              <c:f>'Chlorophyll a and b Absorpt (2)'!$N$3:$N$103</c:f>
              <c:numCache>
                <c:formatCode>General</c:formatCode>
                <c:ptCount val="10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.21712276922259488</c:v>
                </c:pt>
                <c:pt idx="8">
                  <c:v>0.229810273606643</c:v>
                </c:pt>
                <c:pt idx="9">
                  <c:v>0.24431660672191199</c:v>
                </c:pt>
                <c:pt idx="10">
                  <c:v>0.26127841862326101</c:v>
                </c:pt>
                <c:pt idx="11">
                  <c:v>0.27772935170173879</c:v>
                </c:pt>
                <c:pt idx="12">
                  <c:v>0.29392842081062426</c:v>
                </c:pt>
                <c:pt idx="13">
                  <c:v>0.29837093084351501</c:v>
                </c:pt>
                <c:pt idx="14">
                  <c:v>0.27157175418233676</c:v>
                </c:pt>
                <c:pt idx="15">
                  <c:v>0.26786244652442198</c:v>
                </c:pt>
                <c:pt idx="16">
                  <c:v>0.30222422452470832</c:v>
                </c:pt>
                <c:pt idx="17">
                  <c:v>0.44368269473810401</c:v>
                </c:pt>
                <c:pt idx="18">
                  <c:v>0.51676315664216199</c:v>
                </c:pt>
                <c:pt idx="19">
                  <c:v>0.59473707117779251</c:v>
                </c:pt>
                <c:pt idx="20">
                  <c:v>0.60390700412734799</c:v>
                </c:pt>
                <c:pt idx="21">
                  <c:v>0.51019276235592059</c:v>
                </c:pt>
                <c:pt idx="22">
                  <c:v>0.44505168330393902</c:v>
                </c:pt>
                <c:pt idx="23">
                  <c:v>0.45622899214892998</c:v>
                </c:pt>
                <c:pt idx="24">
                  <c:v>0.53395480116402105</c:v>
                </c:pt>
                <c:pt idx="25">
                  <c:v>0.57121245086917805</c:v>
                </c:pt>
                <c:pt idx="26">
                  <c:v>0.57088894587419603</c:v>
                </c:pt>
                <c:pt idx="27">
                  <c:v>0.5424190207669346</c:v>
                </c:pt>
                <c:pt idx="28">
                  <c:v>0.464203467283196</c:v>
                </c:pt>
                <c:pt idx="29">
                  <c:v>0.33622296310826333</c:v>
                </c:pt>
                <c:pt idx="30">
                  <c:v>0.18775892039382538</c:v>
                </c:pt>
                <c:pt idx="31">
                  <c:v>8.4942163102955784E-2</c:v>
                </c:pt>
                <c:pt idx="32">
                  <c:v>3.1811539949642399E-2</c:v>
                </c:pt>
                <c:pt idx="33">
                  <c:v>1.0345521884885654E-2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8372-476E-AABA-A3028386B2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7205632"/>
        <c:axId val="117216000"/>
      </c:scatterChart>
      <c:valAx>
        <c:axId val="117205632"/>
        <c:scaling>
          <c:orientation val="minMax"/>
          <c:max val="700"/>
          <c:min val="400"/>
        </c:scaling>
        <c:delete val="0"/>
        <c:axPos val="b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ru-RU"/>
                  <a:t>Длина волны, нм</a:t>
                </a:r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117216000"/>
        <c:crosses val="autoZero"/>
        <c:crossBetween val="midCat"/>
      </c:valAx>
      <c:valAx>
        <c:axId val="117216000"/>
        <c:scaling>
          <c:orientation val="minMax"/>
          <c:max val="1"/>
          <c:min val="0"/>
        </c:scaling>
        <c:delete val="1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/>
                  <a:t>Поглощение света, произв. ед.</a:t>
                </a:r>
              </a:p>
            </c:rich>
          </c:tx>
          <c:layout>
            <c:manualLayout>
              <c:xMode val="edge"/>
              <c:yMode val="edge"/>
              <c:x val="1.2436429119815934E-3"/>
              <c:y val="0.33046082326338388"/>
            </c:manualLayout>
          </c:layout>
          <c:overlay val="0"/>
        </c:title>
        <c:numFmt formatCode="General" sourceLinked="1"/>
        <c:majorTickMark val="out"/>
        <c:minorTickMark val="none"/>
        <c:tickLblPos val="none"/>
        <c:crossAx val="117205632"/>
        <c:crosses val="autoZero"/>
        <c:crossBetween val="midCat"/>
      </c:valAx>
    </c:plotArea>
    <c:legend>
      <c:legendPos val="r"/>
      <c:layout>
        <c:manualLayout>
          <c:xMode val="edge"/>
          <c:yMode val="edge"/>
          <c:x val="0.46067310928968203"/>
          <c:y val="0.17053852294655522"/>
          <c:w val="0.28146530727355168"/>
          <c:h val="0.22042120744804239"/>
        </c:manualLayout>
      </c:layout>
      <c:overlay val="0"/>
      <c:spPr>
        <a:solidFill>
          <a:schemeClr val="bg1"/>
        </a:solidFill>
      </c:spPr>
    </c:legend>
    <c:plotVisOnly val="1"/>
    <c:dispBlanksAs val="gap"/>
    <c:showDLblsOverMax val="0"/>
  </c:chart>
  <c:txPr>
    <a:bodyPr/>
    <a:lstStyle/>
    <a:p>
      <a:pPr>
        <a:defRPr sz="1200" b="1"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3730574192321508E-2"/>
          <c:y val="4.1745835183064649E-2"/>
          <c:w val="0.86841057208332784"/>
          <c:h val="0.86111762735889841"/>
        </c:manualLayout>
      </c:layout>
      <c:scatterChart>
        <c:scatterStyle val="smoothMarker"/>
        <c:varyColors val="0"/>
        <c:ser>
          <c:idx val="0"/>
          <c:order val="0"/>
          <c:tx>
            <c:strRef>
              <c:f>'Chlorophyll a and b Absorpt (2)'!$Q$1</c:f>
              <c:strCache>
                <c:ptCount val="1"/>
                <c:pt idx="0">
                  <c:v>Phytochrome Pr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xVal>
            <c:numRef>
              <c:f>'Chlorophyll a and b Absorpt (2)'!$K$3:$K$103</c:f>
              <c:numCache>
                <c:formatCode>General</c:formatCode>
                <c:ptCount val="101"/>
                <c:pt idx="0">
                  <c:v>360</c:v>
                </c:pt>
                <c:pt idx="1">
                  <c:v>365</c:v>
                </c:pt>
                <c:pt idx="2">
                  <c:v>370</c:v>
                </c:pt>
                <c:pt idx="3">
                  <c:v>375</c:v>
                </c:pt>
                <c:pt idx="4">
                  <c:v>380</c:v>
                </c:pt>
                <c:pt idx="5">
                  <c:v>385</c:v>
                </c:pt>
                <c:pt idx="6">
                  <c:v>390</c:v>
                </c:pt>
                <c:pt idx="7">
                  <c:v>395</c:v>
                </c:pt>
                <c:pt idx="8">
                  <c:v>400</c:v>
                </c:pt>
                <c:pt idx="9">
                  <c:v>405</c:v>
                </c:pt>
                <c:pt idx="10">
                  <c:v>410</c:v>
                </c:pt>
                <c:pt idx="11">
                  <c:v>415</c:v>
                </c:pt>
                <c:pt idx="12">
                  <c:v>420</c:v>
                </c:pt>
                <c:pt idx="13">
                  <c:v>425</c:v>
                </c:pt>
                <c:pt idx="14">
                  <c:v>430</c:v>
                </c:pt>
                <c:pt idx="15">
                  <c:v>435</c:v>
                </c:pt>
                <c:pt idx="16">
                  <c:v>440</c:v>
                </c:pt>
                <c:pt idx="17">
                  <c:v>445</c:v>
                </c:pt>
                <c:pt idx="18">
                  <c:v>450</c:v>
                </c:pt>
                <c:pt idx="19">
                  <c:v>455</c:v>
                </c:pt>
                <c:pt idx="20">
                  <c:v>460</c:v>
                </c:pt>
                <c:pt idx="21">
                  <c:v>465</c:v>
                </c:pt>
                <c:pt idx="22">
                  <c:v>470</c:v>
                </c:pt>
                <c:pt idx="23">
                  <c:v>475</c:v>
                </c:pt>
                <c:pt idx="24">
                  <c:v>480</c:v>
                </c:pt>
                <c:pt idx="25">
                  <c:v>485</c:v>
                </c:pt>
                <c:pt idx="26">
                  <c:v>490</c:v>
                </c:pt>
                <c:pt idx="27">
                  <c:v>495</c:v>
                </c:pt>
                <c:pt idx="28">
                  <c:v>500</c:v>
                </c:pt>
                <c:pt idx="29">
                  <c:v>505</c:v>
                </c:pt>
                <c:pt idx="30">
                  <c:v>510</c:v>
                </c:pt>
                <c:pt idx="31">
                  <c:v>515</c:v>
                </c:pt>
                <c:pt idx="32">
                  <c:v>520</c:v>
                </c:pt>
                <c:pt idx="33">
                  <c:v>525</c:v>
                </c:pt>
                <c:pt idx="34">
                  <c:v>530</c:v>
                </c:pt>
                <c:pt idx="35">
                  <c:v>535</c:v>
                </c:pt>
                <c:pt idx="36">
                  <c:v>540</c:v>
                </c:pt>
                <c:pt idx="37">
                  <c:v>545</c:v>
                </c:pt>
                <c:pt idx="38">
                  <c:v>550</c:v>
                </c:pt>
                <c:pt idx="39">
                  <c:v>555</c:v>
                </c:pt>
                <c:pt idx="40">
                  <c:v>560</c:v>
                </c:pt>
                <c:pt idx="41">
                  <c:v>565</c:v>
                </c:pt>
                <c:pt idx="42">
                  <c:v>570</c:v>
                </c:pt>
                <c:pt idx="43">
                  <c:v>575</c:v>
                </c:pt>
                <c:pt idx="44">
                  <c:v>580</c:v>
                </c:pt>
                <c:pt idx="45">
                  <c:v>585</c:v>
                </c:pt>
                <c:pt idx="46">
                  <c:v>590</c:v>
                </c:pt>
                <c:pt idx="47">
                  <c:v>595</c:v>
                </c:pt>
                <c:pt idx="48">
                  <c:v>600</c:v>
                </c:pt>
                <c:pt idx="49">
                  <c:v>605</c:v>
                </c:pt>
                <c:pt idx="50">
                  <c:v>610</c:v>
                </c:pt>
                <c:pt idx="51">
                  <c:v>615</c:v>
                </c:pt>
                <c:pt idx="52">
                  <c:v>620</c:v>
                </c:pt>
                <c:pt idx="53">
                  <c:v>625</c:v>
                </c:pt>
                <c:pt idx="54">
                  <c:v>630</c:v>
                </c:pt>
                <c:pt idx="55">
                  <c:v>635</c:v>
                </c:pt>
                <c:pt idx="56">
                  <c:v>640</c:v>
                </c:pt>
                <c:pt idx="57">
                  <c:v>645</c:v>
                </c:pt>
                <c:pt idx="58">
                  <c:v>650</c:v>
                </c:pt>
                <c:pt idx="59">
                  <c:v>655</c:v>
                </c:pt>
                <c:pt idx="60">
                  <c:v>660</c:v>
                </c:pt>
                <c:pt idx="61">
                  <c:v>665</c:v>
                </c:pt>
                <c:pt idx="62">
                  <c:v>670</c:v>
                </c:pt>
                <c:pt idx="63">
                  <c:v>675</c:v>
                </c:pt>
                <c:pt idx="64">
                  <c:v>680</c:v>
                </c:pt>
                <c:pt idx="65">
                  <c:v>685</c:v>
                </c:pt>
                <c:pt idx="66">
                  <c:v>690</c:v>
                </c:pt>
                <c:pt idx="67">
                  <c:v>695</c:v>
                </c:pt>
                <c:pt idx="68">
                  <c:v>700</c:v>
                </c:pt>
                <c:pt idx="69">
                  <c:v>705</c:v>
                </c:pt>
                <c:pt idx="70">
                  <c:v>710</c:v>
                </c:pt>
                <c:pt idx="71">
                  <c:v>715</c:v>
                </c:pt>
                <c:pt idx="72">
                  <c:v>720</c:v>
                </c:pt>
                <c:pt idx="73">
                  <c:v>725</c:v>
                </c:pt>
                <c:pt idx="74">
                  <c:v>730</c:v>
                </c:pt>
                <c:pt idx="75">
                  <c:v>735</c:v>
                </c:pt>
                <c:pt idx="76">
                  <c:v>740</c:v>
                </c:pt>
                <c:pt idx="77">
                  <c:v>745</c:v>
                </c:pt>
                <c:pt idx="78">
                  <c:v>750</c:v>
                </c:pt>
                <c:pt idx="79">
                  <c:v>755</c:v>
                </c:pt>
                <c:pt idx="80">
                  <c:v>760</c:v>
                </c:pt>
                <c:pt idx="81">
                  <c:v>765</c:v>
                </c:pt>
                <c:pt idx="82">
                  <c:v>770</c:v>
                </c:pt>
                <c:pt idx="83">
                  <c:v>775</c:v>
                </c:pt>
                <c:pt idx="84">
                  <c:v>780</c:v>
                </c:pt>
                <c:pt idx="85">
                  <c:v>785</c:v>
                </c:pt>
                <c:pt idx="86">
                  <c:v>790</c:v>
                </c:pt>
                <c:pt idx="87">
                  <c:v>795</c:v>
                </c:pt>
                <c:pt idx="88">
                  <c:v>800</c:v>
                </c:pt>
                <c:pt idx="89">
                  <c:v>805</c:v>
                </c:pt>
                <c:pt idx="90">
                  <c:v>810</c:v>
                </c:pt>
                <c:pt idx="91">
                  <c:v>815</c:v>
                </c:pt>
                <c:pt idx="92">
                  <c:v>820</c:v>
                </c:pt>
                <c:pt idx="93">
                  <c:v>825</c:v>
                </c:pt>
                <c:pt idx="94">
                  <c:v>830</c:v>
                </c:pt>
                <c:pt idx="95">
                  <c:v>835</c:v>
                </c:pt>
                <c:pt idx="96">
                  <c:v>840</c:v>
                </c:pt>
                <c:pt idx="97">
                  <c:v>845</c:v>
                </c:pt>
                <c:pt idx="98">
                  <c:v>850</c:v>
                </c:pt>
                <c:pt idx="99">
                  <c:v>855</c:v>
                </c:pt>
                <c:pt idx="100">
                  <c:v>860</c:v>
                </c:pt>
              </c:numCache>
            </c:numRef>
          </c:xVal>
          <c:yVal>
            <c:numRef>
              <c:f>'Chlorophyll a and b Absorpt (2)'!$Q$3:$Q$103</c:f>
              <c:numCache>
                <c:formatCode>General</c:formatCode>
                <c:ptCount val="101"/>
                <c:pt idx="0">
                  <c:v>0.24823521717725575</c:v>
                </c:pt>
                <c:pt idx="1">
                  <c:v>0.25747180582379697</c:v>
                </c:pt>
                <c:pt idx="2">
                  <c:v>0.272648360410291</c:v>
                </c:pt>
                <c:pt idx="3">
                  <c:v>0.27762071822993978</c:v>
                </c:pt>
                <c:pt idx="4">
                  <c:v>0.27913455375746732</c:v>
                </c:pt>
                <c:pt idx="5">
                  <c:v>0.25814099865781498</c:v>
                </c:pt>
                <c:pt idx="6">
                  <c:v>0.23416096315819801</c:v>
                </c:pt>
                <c:pt idx="7">
                  <c:v>0.19536544617417648</c:v>
                </c:pt>
                <c:pt idx="8">
                  <c:v>0.1492074097683968</c:v>
                </c:pt>
                <c:pt idx="9">
                  <c:v>0.1088507138904618</c:v>
                </c:pt>
                <c:pt idx="10">
                  <c:v>8.3460948730397291E-2</c:v>
                </c:pt>
                <c:pt idx="11">
                  <c:v>6.8249535647840406E-2</c:v>
                </c:pt>
                <c:pt idx="12">
                  <c:v>5.9417411161590085E-2</c:v>
                </c:pt>
                <c:pt idx="13">
                  <c:v>5.3544050047478087E-2</c:v>
                </c:pt>
                <c:pt idx="14">
                  <c:v>4.8206969071453699E-2</c:v>
                </c:pt>
                <c:pt idx="15">
                  <c:v>4.1403777898772323E-2</c:v>
                </c:pt>
                <c:pt idx="16">
                  <c:v>3.5723856838017702E-2</c:v>
                </c:pt>
                <c:pt idx="17">
                  <c:v>3.3855067459776109E-2</c:v>
                </c:pt>
                <c:pt idx="18">
                  <c:v>2.7027556724868711E-2</c:v>
                </c:pt>
                <c:pt idx="19">
                  <c:v>2.37086900572775E-2</c:v>
                </c:pt>
                <c:pt idx="20">
                  <c:v>2.181971390032298E-2</c:v>
                </c:pt>
                <c:pt idx="21">
                  <c:v>2.0285285421052009E-2</c:v>
                </c:pt>
                <c:pt idx="22">
                  <c:v>2.0307191291069001E-2</c:v>
                </c:pt>
                <c:pt idx="23">
                  <c:v>1.5890060432580903E-2</c:v>
                </c:pt>
                <c:pt idx="24">
                  <c:v>1.5906434458139905E-2</c:v>
                </c:pt>
                <c:pt idx="25">
                  <c:v>1.5930379728600747E-2</c:v>
                </c:pt>
                <c:pt idx="26">
                  <c:v>1.5949467254675605E-2</c:v>
                </c:pt>
                <c:pt idx="27">
                  <c:v>1.5967970807458501E-2</c:v>
                </c:pt>
                <c:pt idx="28">
                  <c:v>1.5986473760002454E-2</c:v>
                </c:pt>
                <c:pt idx="29">
                  <c:v>1.60012168843334E-2</c:v>
                </c:pt>
                <c:pt idx="30">
                  <c:v>1.6018330042511901E-2</c:v>
                </c:pt>
                <c:pt idx="31">
                  <c:v>2.0473881761823624E-2</c:v>
                </c:pt>
                <c:pt idx="32">
                  <c:v>2.0489536400053396E-2</c:v>
                </c:pt>
                <c:pt idx="33">
                  <c:v>2.1814786764683201E-2</c:v>
                </c:pt>
                <c:pt idx="34">
                  <c:v>2.644434170973679E-2</c:v>
                </c:pt>
                <c:pt idx="35">
                  <c:v>3.3331154046068401E-2</c:v>
                </c:pt>
                <c:pt idx="36">
                  <c:v>4.1346984201440409E-2</c:v>
                </c:pt>
                <c:pt idx="37">
                  <c:v>4.9363592603614434E-2</c:v>
                </c:pt>
                <c:pt idx="38">
                  <c:v>5.8639663424614401E-2</c:v>
                </c:pt>
                <c:pt idx="39">
                  <c:v>7.0745968405808907E-2</c:v>
                </c:pt>
                <c:pt idx="40">
                  <c:v>8.1884289766680024E-2</c:v>
                </c:pt>
                <c:pt idx="41">
                  <c:v>9.2520753202933501E-2</c:v>
                </c:pt>
                <c:pt idx="42">
                  <c:v>0.11019709016168602</c:v>
                </c:pt>
                <c:pt idx="43">
                  <c:v>0.12544188244355201</c:v>
                </c:pt>
                <c:pt idx="44">
                  <c:v>0.14791566465419842</c:v>
                </c:pt>
                <c:pt idx="45">
                  <c:v>0.18163809195480199</c:v>
                </c:pt>
                <c:pt idx="46">
                  <c:v>0.20779841682331263</c:v>
                </c:pt>
                <c:pt idx="47">
                  <c:v>0.2536488616728349</c:v>
                </c:pt>
                <c:pt idx="48">
                  <c:v>0.29152745309330302</c:v>
                </c:pt>
                <c:pt idx="49">
                  <c:v>0.33028688289964775</c:v>
                </c:pt>
                <c:pt idx="50">
                  <c:v>0.35943837551543878</c:v>
                </c:pt>
                <c:pt idx="51">
                  <c:v>0.37538349752037414</c:v>
                </c:pt>
                <c:pt idx="52">
                  <c:v>0.40045328882611703</c:v>
                </c:pt>
                <c:pt idx="53">
                  <c:v>0.42114194099253699</c:v>
                </c:pt>
                <c:pt idx="54">
                  <c:v>0.47129961203630022</c:v>
                </c:pt>
                <c:pt idx="55">
                  <c:v>0.52375479715839079</c:v>
                </c:pt>
                <c:pt idx="56">
                  <c:v>0.59513691118834444</c:v>
                </c:pt>
                <c:pt idx="57">
                  <c:v>0.68003824322322504</c:v>
                </c:pt>
                <c:pt idx="58">
                  <c:v>0.7715621264357575</c:v>
                </c:pt>
                <c:pt idx="59">
                  <c:v>0.85402691437758205</c:v>
                </c:pt>
                <c:pt idx="60">
                  <c:v>0.95396498681834996</c:v>
                </c:pt>
                <c:pt idx="61">
                  <c:v>0.997325966129602</c:v>
                </c:pt>
                <c:pt idx="62">
                  <c:v>0.98259971989269757</c:v>
                </c:pt>
                <c:pt idx="63">
                  <c:v>0.832142386897474</c:v>
                </c:pt>
                <c:pt idx="64">
                  <c:v>0.64318186158084978</c:v>
                </c:pt>
                <c:pt idx="65">
                  <c:v>0.42681937127432873</c:v>
                </c:pt>
                <c:pt idx="66">
                  <c:v>0.30473629256813473</c:v>
                </c:pt>
                <c:pt idx="67">
                  <c:v>0.15802305825823401</c:v>
                </c:pt>
                <c:pt idx="68">
                  <c:v>8.8558057228798545E-2</c:v>
                </c:pt>
                <c:pt idx="69">
                  <c:v>4.9886222494688888E-2</c:v>
                </c:pt>
                <c:pt idx="70">
                  <c:v>3.0265828519247178E-2</c:v>
                </c:pt>
                <c:pt idx="71">
                  <c:v>2.0997792150884199E-2</c:v>
                </c:pt>
                <c:pt idx="72">
                  <c:v>1.23694770266585E-2</c:v>
                </c:pt>
                <c:pt idx="73">
                  <c:v>1.2199235743988901E-2</c:v>
                </c:pt>
                <c:pt idx="74">
                  <c:v>7.9728827746566241E-3</c:v>
                </c:pt>
                <c:pt idx="75">
                  <c:v>7.9898415604916419E-3</c:v>
                </c:pt>
                <c:pt idx="76">
                  <c:v>8.0137422067665751E-3</c:v>
                </c:pt>
                <c:pt idx="77">
                  <c:v>8.0328802916984181E-3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9CEB-4B5A-B2CC-C21C3374C7BC}"/>
            </c:ext>
          </c:extLst>
        </c:ser>
        <c:ser>
          <c:idx val="1"/>
          <c:order val="1"/>
          <c:tx>
            <c:strRef>
              <c:f>'Chlorophyll a and b Absorpt (2)'!$R$1</c:f>
              <c:strCache>
                <c:ptCount val="1"/>
                <c:pt idx="0">
                  <c:v>Phytochrome Pfr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ymbol val="none"/>
          </c:marker>
          <c:xVal>
            <c:numRef>
              <c:f>'Chlorophyll a and b Absorpt (2)'!$K$3:$K$103</c:f>
              <c:numCache>
                <c:formatCode>General</c:formatCode>
                <c:ptCount val="101"/>
                <c:pt idx="0">
                  <c:v>360</c:v>
                </c:pt>
                <c:pt idx="1">
                  <c:v>365</c:v>
                </c:pt>
                <c:pt idx="2">
                  <c:v>370</c:v>
                </c:pt>
                <c:pt idx="3">
                  <c:v>375</c:v>
                </c:pt>
                <c:pt idx="4">
                  <c:v>380</c:v>
                </c:pt>
                <c:pt idx="5">
                  <c:v>385</c:v>
                </c:pt>
                <c:pt idx="6">
                  <c:v>390</c:v>
                </c:pt>
                <c:pt idx="7">
                  <c:v>395</c:v>
                </c:pt>
                <c:pt idx="8">
                  <c:v>400</c:v>
                </c:pt>
                <c:pt idx="9">
                  <c:v>405</c:v>
                </c:pt>
                <c:pt idx="10">
                  <c:v>410</c:v>
                </c:pt>
                <c:pt idx="11">
                  <c:v>415</c:v>
                </c:pt>
                <c:pt idx="12">
                  <c:v>420</c:v>
                </c:pt>
                <c:pt idx="13">
                  <c:v>425</c:v>
                </c:pt>
                <c:pt idx="14">
                  <c:v>430</c:v>
                </c:pt>
                <c:pt idx="15">
                  <c:v>435</c:v>
                </c:pt>
                <c:pt idx="16">
                  <c:v>440</c:v>
                </c:pt>
                <c:pt idx="17">
                  <c:v>445</c:v>
                </c:pt>
                <c:pt idx="18">
                  <c:v>450</c:v>
                </c:pt>
                <c:pt idx="19">
                  <c:v>455</c:v>
                </c:pt>
                <c:pt idx="20">
                  <c:v>460</c:v>
                </c:pt>
                <c:pt idx="21">
                  <c:v>465</c:v>
                </c:pt>
                <c:pt idx="22">
                  <c:v>470</c:v>
                </c:pt>
                <c:pt idx="23">
                  <c:v>475</c:v>
                </c:pt>
                <c:pt idx="24">
                  <c:v>480</c:v>
                </c:pt>
                <c:pt idx="25">
                  <c:v>485</c:v>
                </c:pt>
                <c:pt idx="26">
                  <c:v>490</c:v>
                </c:pt>
                <c:pt idx="27">
                  <c:v>495</c:v>
                </c:pt>
                <c:pt idx="28">
                  <c:v>500</c:v>
                </c:pt>
                <c:pt idx="29">
                  <c:v>505</c:v>
                </c:pt>
                <c:pt idx="30">
                  <c:v>510</c:v>
                </c:pt>
                <c:pt idx="31">
                  <c:v>515</c:v>
                </c:pt>
                <c:pt idx="32">
                  <c:v>520</c:v>
                </c:pt>
                <c:pt idx="33">
                  <c:v>525</c:v>
                </c:pt>
                <c:pt idx="34">
                  <c:v>530</c:v>
                </c:pt>
                <c:pt idx="35">
                  <c:v>535</c:v>
                </c:pt>
                <c:pt idx="36">
                  <c:v>540</c:v>
                </c:pt>
                <c:pt idx="37">
                  <c:v>545</c:v>
                </c:pt>
                <c:pt idx="38">
                  <c:v>550</c:v>
                </c:pt>
                <c:pt idx="39">
                  <c:v>555</c:v>
                </c:pt>
                <c:pt idx="40">
                  <c:v>560</c:v>
                </c:pt>
                <c:pt idx="41">
                  <c:v>565</c:v>
                </c:pt>
                <c:pt idx="42">
                  <c:v>570</c:v>
                </c:pt>
                <c:pt idx="43">
                  <c:v>575</c:v>
                </c:pt>
                <c:pt idx="44">
                  <c:v>580</c:v>
                </c:pt>
                <c:pt idx="45">
                  <c:v>585</c:v>
                </c:pt>
                <c:pt idx="46">
                  <c:v>590</c:v>
                </c:pt>
                <c:pt idx="47">
                  <c:v>595</c:v>
                </c:pt>
                <c:pt idx="48">
                  <c:v>600</c:v>
                </c:pt>
                <c:pt idx="49">
                  <c:v>605</c:v>
                </c:pt>
                <c:pt idx="50">
                  <c:v>610</c:v>
                </c:pt>
                <c:pt idx="51">
                  <c:v>615</c:v>
                </c:pt>
                <c:pt idx="52">
                  <c:v>620</c:v>
                </c:pt>
                <c:pt idx="53">
                  <c:v>625</c:v>
                </c:pt>
                <c:pt idx="54">
                  <c:v>630</c:v>
                </c:pt>
                <c:pt idx="55">
                  <c:v>635</c:v>
                </c:pt>
                <c:pt idx="56">
                  <c:v>640</c:v>
                </c:pt>
                <c:pt idx="57">
                  <c:v>645</c:v>
                </c:pt>
                <c:pt idx="58">
                  <c:v>650</c:v>
                </c:pt>
                <c:pt idx="59">
                  <c:v>655</c:v>
                </c:pt>
                <c:pt idx="60">
                  <c:v>660</c:v>
                </c:pt>
                <c:pt idx="61">
                  <c:v>665</c:v>
                </c:pt>
                <c:pt idx="62">
                  <c:v>670</c:v>
                </c:pt>
                <c:pt idx="63">
                  <c:v>675</c:v>
                </c:pt>
                <c:pt idx="64">
                  <c:v>680</c:v>
                </c:pt>
                <c:pt idx="65">
                  <c:v>685</c:v>
                </c:pt>
                <c:pt idx="66">
                  <c:v>690</c:v>
                </c:pt>
                <c:pt idx="67">
                  <c:v>695</c:v>
                </c:pt>
                <c:pt idx="68">
                  <c:v>700</c:v>
                </c:pt>
                <c:pt idx="69">
                  <c:v>705</c:v>
                </c:pt>
                <c:pt idx="70">
                  <c:v>710</c:v>
                </c:pt>
                <c:pt idx="71">
                  <c:v>715</c:v>
                </c:pt>
                <c:pt idx="72">
                  <c:v>720</c:v>
                </c:pt>
                <c:pt idx="73">
                  <c:v>725</c:v>
                </c:pt>
                <c:pt idx="74">
                  <c:v>730</c:v>
                </c:pt>
                <c:pt idx="75">
                  <c:v>735</c:v>
                </c:pt>
                <c:pt idx="76">
                  <c:v>740</c:v>
                </c:pt>
                <c:pt idx="77">
                  <c:v>745</c:v>
                </c:pt>
                <c:pt idx="78">
                  <c:v>750</c:v>
                </c:pt>
                <c:pt idx="79">
                  <c:v>755</c:v>
                </c:pt>
                <c:pt idx="80">
                  <c:v>760</c:v>
                </c:pt>
                <c:pt idx="81">
                  <c:v>765</c:v>
                </c:pt>
                <c:pt idx="82">
                  <c:v>770</c:v>
                </c:pt>
                <c:pt idx="83">
                  <c:v>775</c:v>
                </c:pt>
                <c:pt idx="84">
                  <c:v>780</c:v>
                </c:pt>
                <c:pt idx="85">
                  <c:v>785</c:v>
                </c:pt>
                <c:pt idx="86">
                  <c:v>790</c:v>
                </c:pt>
                <c:pt idx="87">
                  <c:v>795</c:v>
                </c:pt>
                <c:pt idx="88">
                  <c:v>800</c:v>
                </c:pt>
                <c:pt idx="89">
                  <c:v>805</c:v>
                </c:pt>
                <c:pt idx="90">
                  <c:v>810</c:v>
                </c:pt>
                <c:pt idx="91">
                  <c:v>815</c:v>
                </c:pt>
                <c:pt idx="92">
                  <c:v>820</c:v>
                </c:pt>
                <c:pt idx="93">
                  <c:v>825</c:v>
                </c:pt>
                <c:pt idx="94">
                  <c:v>830</c:v>
                </c:pt>
                <c:pt idx="95">
                  <c:v>835</c:v>
                </c:pt>
                <c:pt idx="96">
                  <c:v>840</c:v>
                </c:pt>
                <c:pt idx="97">
                  <c:v>845</c:v>
                </c:pt>
                <c:pt idx="98">
                  <c:v>850</c:v>
                </c:pt>
                <c:pt idx="99">
                  <c:v>855</c:v>
                </c:pt>
                <c:pt idx="100">
                  <c:v>860</c:v>
                </c:pt>
              </c:numCache>
            </c:numRef>
          </c:xVal>
          <c:yVal>
            <c:numRef>
              <c:f>'Chlorophyll a and b Absorpt (2)'!$R$3:$R$103</c:f>
              <c:numCache>
                <c:formatCode>General</c:formatCode>
                <c:ptCount val="101"/>
                <c:pt idx="0">
                  <c:v>0.19426765082748151</c:v>
                </c:pt>
                <c:pt idx="1">
                  <c:v>0.21221212179859042</c:v>
                </c:pt>
                <c:pt idx="2">
                  <c:v>0.22527137622893967</c:v>
                </c:pt>
                <c:pt idx="3">
                  <c:v>0.230910966408052</c:v>
                </c:pt>
                <c:pt idx="4">
                  <c:v>0.23079486253401599</c:v>
                </c:pt>
                <c:pt idx="5">
                  <c:v>0.22463025654034038</c:v>
                </c:pt>
                <c:pt idx="6">
                  <c:v>0.20678510724535901</c:v>
                </c:pt>
                <c:pt idx="7">
                  <c:v>0.17913986050733363</c:v>
                </c:pt>
                <c:pt idx="8">
                  <c:v>0.12708682795109988</c:v>
                </c:pt>
                <c:pt idx="9">
                  <c:v>9.7557224571994228E-2</c:v>
                </c:pt>
                <c:pt idx="10">
                  <c:v>7.5387899252935944E-2</c:v>
                </c:pt>
                <c:pt idx="11">
                  <c:v>6.2608073327956995E-2</c:v>
                </c:pt>
                <c:pt idx="12">
                  <c:v>5.0948183842524197E-2</c:v>
                </c:pt>
                <c:pt idx="13">
                  <c:v>4.2564135325488903E-2</c:v>
                </c:pt>
                <c:pt idx="14">
                  <c:v>3.5073931371416227E-2</c:v>
                </c:pt>
                <c:pt idx="15">
                  <c:v>2.8224684439290621E-2</c:v>
                </c:pt>
                <c:pt idx="16">
                  <c:v>2.2577735020346018E-2</c:v>
                </c:pt>
                <c:pt idx="17">
                  <c:v>1.820107278986817E-2</c:v>
                </c:pt>
                <c:pt idx="18">
                  <c:v>1.3263799324151501E-2</c:v>
                </c:pt>
                <c:pt idx="19">
                  <c:v>9.7090349360530511E-3</c:v>
                </c:pt>
                <c:pt idx="20">
                  <c:v>8.00497945660247E-3</c:v>
                </c:pt>
                <c:pt idx="21">
                  <c:v>3.8988219328291002E-3</c:v>
                </c:pt>
                <c:pt idx="22">
                  <c:v>3.0118834978741498E-3</c:v>
                </c:pt>
                <c:pt idx="23">
                  <c:v>2.2788125838132467E-3</c:v>
                </c:pt>
                <c:pt idx="24">
                  <c:v>1.6863900644107296E-3</c:v>
                </c:pt>
                <c:pt idx="25">
                  <c:v>1.2213968134308899E-3</c:v>
                </c:pt>
                <c:pt idx="26">
                  <c:v>8.7061370463808227E-4</c:v>
                </c:pt>
                <c:pt idx="27">
                  <c:v>6.2082161179662814E-4</c:v>
                </c:pt>
                <c:pt idx="28">
                  <c:v>4.5880140867085199E-4</c:v>
                </c:pt>
                <c:pt idx="29">
                  <c:v>3.7133396902508446E-4</c:v>
                </c:pt>
                <c:pt idx="30">
                  <c:v>3.4520032498626412E-4</c:v>
                </c:pt>
                <c:pt idx="31">
                  <c:v>3.6157767193159633E-4</c:v>
                </c:pt>
                <c:pt idx="32">
                  <c:v>9.7991715299172505E-4</c:v>
                </c:pt>
                <c:pt idx="33">
                  <c:v>4.5318275033533638E-3</c:v>
                </c:pt>
                <c:pt idx="34">
                  <c:v>5.1260202359503524E-3</c:v>
                </c:pt>
                <c:pt idx="35">
                  <c:v>8.2315171015822398E-3</c:v>
                </c:pt>
                <c:pt idx="36">
                  <c:v>1.1046727947412557E-2</c:v>
                </c:pt>
                <c:pt idx="37">
                  <c:v>1.3861938761946401E-2</c:v>
                </c:pt>
                <c:pt idx="38">
                  <c:v>1.6597625608764547E-2</c:v>
                </c:pt>
                <c:pt idx="39">
                  <c:v>2.163163731582006E-2</c:v>
                </c:pt>
                <c:pt idx="40">
                  <c:v>2.4861429594262078E-2</c:v>
                </c:pt>
                <c:pt idx="41">
                  <c:v>2.9107478865232798E-2</c:v>
                </c:pt>
                <c:pt idx="42">
                  <c:v>3.4432070367030498E-2</c:v>
                </c:pt>
                <c:pt idx="43">
                  <c:v>3.9166535608933503E-2</c:v>
                </c:pt>
                <c:pt idx="44">
                  <c:v>4.4813377090029291E-2</c:v>
                </c:pt>
                <c:pt idx="45">
                  <c:v>5.1512873009247104E-2</c:v>
                </c:pt>
                <c:pt idx="46">
                  <c:v>5.7720340071962299E-2</c:v>
                </c:pt>
                <c:pt idx="47">
                  <c:v>6.4770269942709888E-2</c:v>
                </c:pt>
                <c:pt idx="48">
                  <c:v>7.2115372286747498E-2</c:v>
                </c:pt>
                <c:pt idx="49">
                  <c:v>7.984130985907742E-2</c:v>
                </c:pt>
                <c:pt idx="50">
                  <c:v>8.6891527165012764E-2</c:v>
                </c:pt>
                <c:pt idx="51">
                  <c:v>9.6390267273254504E-2</c:v>
                </c:pt>
                <c:pt idx="52">
                  <c:v>0.10460397195028545</c:v>
                </c:pt>
                <c:pt idx="53">
                  <c:v>0.11542292061866602</c:v>
                </c:pt>
                <c:pt idx="54">
                  <c:v>0.12862118075951287</c:v>
                </c:pt>
                <c:pt idx="55">
                  <c:v>0.14350790066501201</c:v>
                </c:pt>
                <c:pt idx="56">
                  <c:v>0.15952134624867001</c:v>
                </c:pt>
                <c:pt idx="57">
                  <c:v>0.18205714387441851</c:v>
                </c:pt>
                <c:pt idx="58">
                  <c:v>0.21156989545377838</c:v>
                </c:pt>
                <c:pt idx="59">
                  <c:v>0.24152373623558687</c:v>
                </c:pt>
                <c:pt idx="60">
                  <c:v>0.27201932578242038</c:v>
                </c:pt>
                <c:pt idx="61">
                  <c:v>0.29888220946503902</c:v>
                </c:pt>
                <c:pt idx="62">
                  <c:v>0.31204568429790225</c:v>
                </c:pt>
                <c:pt idx="63">
                  <c:v>0.31508983856449901</c:v>
                </c:pt>
                <c:pt idx="64">
                  <c:v>0.31417685613011498</c:v>
                </c:pt>
                <c:pt idx="65">
                  <c:v>0.31469723951950701</c:v>
                </c:pt>
                <c:pt idx="66">
                  <c:v>0.31810220051697102</c:v>
                </c:pt>
                <c:pt idx="67">
                  <c:v>0.33213195794078032</c:v>
                </c:pt>
                <c:pt idx="68">
                  <c:v>0.35240117618609701</c:v>
                </c:pt>
                <c:pt idx="69">
                  <c:v>0.37142221966723338</c:v>
                </c:pt>
                <c:pt idx="70">
                  <c:v>0.39583500752916689</c:v>
                </c:pt>
                <c:pt idx="71">
                  <c:v>0.41596061338213214</c:v>
                </c:pt>
                <c:pt idx="72">
                  <c:v>0.43408697349408998</c:v>
                </c:pt>
                <c:pt idx="73">
                  <c:v>0.4508482798864929</c:v>
                </c:pt>
                <c:pt idx="74">
                  <c:v>0.45974285210270599</c:v>
                </c:pt>
                <c:pt idx="75">
                  <c:v>0.44441513613843076</c:v>
                </c:pt>
                <c:pt idx="76">
                  <c:v>0.35618171927585479</c:v>
                </c:pt>
                <c:pt idx="77">
                  <c:v>0.25069312828936574</c:v>
                </c:pt>
                <c:pt idx="78">
                  <c:v>0.18454461110918999</c:v>
                </c:pt>
                <c:pt idx="79">
                  <c:v>0.14987941150114548</c:v>
                </c:pt>
                <c:pt idx="80">
                  <c:v>0.12065504550672219</c:v>
                </c:pt>
                <c:pt idx="81">
                  <c:v>0.10121371708825529</c:v>
                </c:pt>
                <c:pt idx="82">
                  <c:v>8.4987065484664198E-2</c:v>
                </c:pt>
                <c:pt idx="83">
                  <c:v>6.9712238194783338E-2</c:v>
                </c:pt>
                <c:pt idx="84">
                  <c:v>5.9192294111667376E-2</c:v>
                </c:pt>
                <c:pt idx="85">
                  <c:v>4.8311513523059096E-2</c:v>
                </c:pt>
                <c:pt idx="86">
                  <c:v>3.9500672104384897E-2</c:v>
                </c:pt>
                <c:pt idx="87">
                  <c:v>3.1432649724099239E-2</c:v>
                </c:pt>
                <c:pt idx="88">
                  <c:v>2.5347754437470602E-2</c:v>
                </c:pt>
                <c:pt idx="89">
                  <c:v>1.93092473256238E-2</c:v>
                </c:pt>
                <c:pt idx="90">
                  <c:v>1.3903574603274654E-2</c:v>
                </c:pt>
                <c:pt idx="91">
                  <c:v>1.1019233671339694E-2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9CEB-4B5A-B2CC-C21C3374C7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9455744"/>
        <c:axId val="119457664"/>
      </c:scatterChart>
      <c:valAx>
        <c:axId val="119455744"/>
        <c:scaling>
          <c:orientation val="minMax"/>
          <c:max val="755"/>
          <c:min val="550"/>
        </c:scaling>
        <c:delete val="0"/>
        <c:axPos val="b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ru-RU"/>
                  <a:t>Длина волны, нм</a:t>
                </a:r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119457664"/>
        <c:crosses val="autoZero"/>
        <c:crossBetween val="midCat"/>
      </c:valAx>
      <c:valAx>
        <c:axId val="119457664"/>
        <c:scaling>
          <c:orientation val="minMax"/>
          <c:max val="1"/>
          <c:min val="0"/>
        </c:scaling>
        <c:delete val="1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/>
                  <a:t>Поглощение света, произв. ед.</a:t>
                </a:r>
              </a:p>
            </c:rich>
          </c:tx>
          <c:layout>
            <c:manualLayout>
              <c:xMode val="edge"/>
              <c:yMode val="edge"/>
              <c:x val="1.2843911881730655E-2"/>
              <c:y val="0.30930488293931552"/>
            </c:manualLayout>
          </c:layout>
          <c:overlay val="0"/>
        </c:title>
        <c:numFmt formatCode="General" sourceLinked="1"/>
        <c:majorTickMark val="out"/>
        <c:minorTickMark val="none"/>
        <c:tickLblPos val="none"/>
        <c:crossAx val="119455744"/>
        <c:crosses val="autoZero"/>
        <c:crossBetween val="midCat"/>
      </c:valAx>
    </c:plotArea>
    <c:legend>
      <c:legendPos val="r"/>
      <c:layout>
        <c:manualLayout>
          <c:xMode val="edge"/>
          <c:yMode val="edge"/>
          <c:x val="8.2768110511261497E-2"/>
          <c:y val="7.8598301342948998E-2"/>
          <c:w val="0.37038657663272984"/>
          <c:h val="0.12854886085947784"/>
        </c:manualLayout>
      </c:layout>
      <c:overlay val="0"/>
      <c:spPr>
        <a:solidFill>
          <a:schemeClr val="bg1"/>
        </a:solidFill>
      </c:spPr>
    </c:legend>
    <c:plotVisOnly val="1"/>
    <c:dispBlanksAs val="gap"/>
    <c:showDLblsOverMax val="0"/>
  </c:chart>
  <c:txPr>
    <a:bodyPr/>
    <a:lstStyle/>
    <a:p>
      <a:pPr>
        <a:defRPr sz="1200" b="1"/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1598605632205498E-2"/>
          <c:y val="2.0426715272867352E-2"/>
          <c:w val="0.95327265267482586"/>
          <c:h val="0.88380724813601619"/>
        </c:manualLayout>
      </c:layout>
      <c:scatterChart>
        <c:scatterStyle val="smoothMarker"/>
        <c:varyColors val="0"/>
        <c:ser>
          <c:idx val="0"/>
          <c:order val="0"/>
          <c:tx>
            <c:strRef>
              <c:f>'Chlorophyll a and b Absorpt (2)'!$L$1</c:f>
              <c:strCache>
                <c:ptCount val="1"/>
                <c:pt idx="0">
                  <c:v>Chlorophyll a</c:v>
                </c:pt>
              </c:strCache>
            </c:strRef>
          </c:tx>
          <c:spPr>
            <a:ln>
              <a:solidFill>
                <a:srgbClr val="92D050"/>
              </a:solidFill>
              <a:prstDash val="dash"/>
            </a:ln>
          </c:spPr>
          <c:marker>
            <c:symbol val="none"/>
          </c:marker>
          <c:xVal>
            <c:numRef>
              <c:f>'Chlorophyll a and b Absorpt (2)'!$K$2:$K$103</c:f>
              <c:numCache>
                <c:formatCode>General</c:formatCode>
                <c:ptCount val="102"/>
                <c:pt idx="1">
                  <c:v>360</c:v>
                </c:pt>
                <c:pt idx="2">
                  <c:v>365</c:v>
                </c:pt>
                <c:pt idx="3">
                  <c:v>370</c:v>
                </c:pt>
                <c:pt idx="4">
                  <c:v>375</c:v>
                </c:pt>
                <c:pt idx="5">
                  <c:v>380</c:v>
                </c:pt>
                <c:pt idx="6">
                  <c:v>385</c:v>
                </c:pt>
                <c:pt idx="7">
                  <c:v>390</c:v>
                </c:pt>
                <c:pt idx="8">
                  <c:v>395</c:v>
                </c:pt>
                <c:pt idx="9">
                  <c:v>400</c:v>
                </c:pt>
                <c:pt idx="10">
                  <c:v>405</c:v>
                </c:pt>
                <c:pt idx="11">
                  <c:v>410</c:v>
                </c:pt>
                <c:pt idx="12">
                  <c:v>415</c:v>
                </c:pt>
                <c:pt idx="13">
                  <c:v>420</c:v>
                </c:pt>
                <c:pt idx="14">
                  <c:v>425</c:v>
                </c:pt>
                <c:pt idx="15">
                  <c:v>430</c:v>
                </c:pt>
                <c:pt idx="16">
                  <c:v>435</c:v>
                </c:pt>
                <c:pt idx="17">
                  <c:v>440</c:v>
                </c:pt>
                <c:pt idx="18">
                  <c:v>445</c:v>
                </c:pt>
                <c:pt idx="19">
                  <c:v>450</c:v>
                </c:pt>
                <c:pt idx="20">
                  <c:v>455</c:v>
                </c:pt>
                <c:pt idx="21">
                  <c:v>460</c:v>
                </c:pt>
                <c:pt idx="22">
                  <c:v>465</c:v>
                </c:pt>
                <c:pt idx="23">
                  <c:v>470</c:v>
                </c:pt>
                <c:pt idx="24">
                  <c:v>475</c:v>
                </c:pt>
                <c:pt idx="25">
                  <c:v>480</c:v>
                </c:pt>
                <c:pt idx="26">
                  <c:v>485</c:v>
                </c:pt>
                <c:pt idx="27">
                  <c:v>490</c:v>
                </c:pt>
                <c:pt idx="28">
                  <c:v>495</c:v>
                </c:pt>
                <c:pt idx="29">
                  <c:v>500</c:v>
                </c:pt>
                <c:pt idx="30">
                  <c:v>505</c:v>
                </c:pt>
                <c:pt idx="31">
                  <c:v>510</c:v>
                </c:pt>
                <c:pt idx="32">
                  <c:v>515</c:v>
                </c:pt>
                <c:pt idx="33">
                  <c:v>520</c:v>
                </c:pt>
                <c:pt idx="34">
                  <c:v>525</c:v>
                </c:pt>
                <c:pt idx="35">
                  <c:v>530</c:v>
                </c:pt>
                <c:pt idx="36">
                  <c:v>535</c:v>
                </c:pt>
                <c:pt idx="37">
                  <c:v>540</c:v>
                </c:pt>
                <c:pt idx="38">
                  <c:v>545</c:v>
                </c:pt>
                <c:pt idx="39">
                  <c:v>550</c:v>
                </c:pt>
                <c:pt idx="40">
                  <c:v>555</c:v>
                </c:pt>
                <c:pt idx="41">
                  <c:v>560</c:v>
                </c:pt>
                <c:pt idx="42">
                  <c:v>565</c:v>
                </c:pt>
                <c:pt idx="43">
                  <c:v>570</c:v>
                </c:pt>
                <c:pt idx="44">
                  <c:v>575</c:v>
                </c:pt>
                <c:pt idx="45">
                  <c:v>580</c:v>
                </c:pt>
                <c:pt idx="46">
                  <c:v>585</c:v>
                </c:pt>
                <c:pt idx="47">
                  <c:v>590</c:v>
                </c:pt>
                <c:pt idx="48">
                  <c:v>595</c:v>
                </c:pt>
                <c:pt idx="49">
                  <c:v>600</c:v>
                </c:pt>
                <c:pt idx="50">
                  <c:v>605</c:v>
                </c:pt>
                <c:pt idx="51">
                  <c:v>610</c:v>
                </c:pt>
                <c:pt idx="52">
                  <c:v>615</c:v>
                </c:pt>
                <c:pt idx="53">
                  <c:v>620</c:v>
                </c:pt>
                <c:pt idx="54">
                  <c:v>625</c:v>
                </c:pt>
                <c:pt idx="55">
                  <c:v>630</c:v>
                </c:pt>
                <c:pt idx="56">
                  <c:v>635</c:v>
                </c:pt>
                <c:pt idx="57">
                  <c:v>640</c:v>
                </c:pt>
                <c:pt idx="58">
                  <c:v>645</c:v>
                </c:pt>
                <c:pt idx="59">
                  <c:v>650</c:v>
                </c:pt>
                <c:pt idx="60">
                  <c:v>655</c:v>
                </c:pt>
                <c:pt idx="61">
                  <c:v>660</c:v>
                </c:pt>
                <c:pt idx="62">
                  <c:v>665</c:v>
                </c:pt>
                <c:pt idx="63">
                  <c:v>670</c:v>
                </c:pt>
                <c:pt idx="64">
                  <c:v>675</c:v>
                </c:pt>
                <c:pt idx="65">
                  <c:v>680</c:v>
                </c:pt>
                <c:pt idx="66">
                  <c:v>685</c:v>
                </c:pt>
                <c:pt idx="67">
                  <c:v>690</c:v>
                </c:pt>
                <c:pt idx="68">
                  <c:v>695</c:v>
                </c:pt>
                <c:pt idx="69">
                  <c:v>700</c:v>
                </c:pt>
                <c:pt idx="70">
                  <c:v>705</c:v>
                </c:pt>
                <c:pt idx="71">
                  <c:v>710</c:v>
                </c:pt>
                <c:pt idx="72">
                  <c:v>715</c:v>
                </c:pt>
                <c:pt idx="73">
                  <c:v>720</c:v>
                </c:pt>
                <c:pt idx="74">
                  <c:v>725</c:v>
                </c:pt>
                <c:pt idx="75">
                  <c:v>730</c:v>
                </c:pt>
                <c:pt idx="76">
                  <c:v>735</c:v>
                </c:pt>
                <c:pt idx="77">
                  <c:v>740</c:v>
                </c:pt>
                <c:pt idx="78">
                  <c:v>745</c:v>
                </c:pt>
                <c:pt idx="79">
                  <c:v>750</c:v>
                </c:pt>
                <c:pt idx="80">
                  <c:v>755</c:v>
                </c:pt>
                <c:pt idx="81">
                  <c:v>760</c:v>
                </c:pt>
                <c:pt idx="82">
                  <c:v>765</c:v>
                </c:pt>
                <c:pt idx="83">
                  <c:v>770</c:v>
                </c:pt>
                <c:pt idx="84">
                  <c:v>775</c:v>
                </c:pt>
                <c:pt idx="85">
                  <c:v>780</c:v>
                </c:pt>
                <c:pt idx="86">
                  <c:v>785</c:v>
                </c:pt>
                <c:pt idx="87">
                  <c:v>790</c:v>
                </c:pt>
                <c:pt idx="88">
                  <c:v>795</c:v>
                </c:pt>
                <c:pt idx="89">
                  <c:v>800</c:v>
                </c:pt>
                <c:pt idx="90">
                  <c:v>805</c:v>
                </c:pt>
                <c:pt idx="91">
                  <c:v>810</c:v>
                </c:pt>
                <c:pt idx="92">
                  <c:v>815</c:v>
                </c:pt>
                <c:pt idx="93">
                  <c:v>820</c:v>
                </c:pt>
                <c:pt idx="94">
                  <c:v>825</c:v>
                </c:pt>
                <c:pt idx="95">
                  <c:v>830</c:v>
                </c:pt>
                <c:pt idx="96">
                  <c:v>835</c:v>
                </c:pt>
                <c:pt idx="97">
                  <c:v>840</c:v>
                </c:pt>
                <c:pt idx="98">
                  <c:v>845</c:v>
                </c:pt>
                <c:pt idx="99">
                  <c:v>850</c:v>
                </c:pt>
                <c:pt idx="100">
                  <c:v>855</c:v>
                </c:pt>
                <c:pt idx="101">
                  <c:v>860</c:v>
                </c:pt>
              </c:numCache>
            </c:numRef>
          </c:xVal>
          <c:yVal>
            <c:numRef>
              <c:f>'Chlorophyll a and b Absorpt (2)'!$L$2:$L$103</c:f>
              <c:numCache>
                <c:formatCode>General</c:formatCode>
                <c:ptCount val="102"/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.42511249748884655</c:v>
                </c:pt>
                <c:pt idx="9">
                  <c:v>0.44337835334486397</c:v>
                </c:pt>
                <c:pt idx="10">
                  <c:v>0.42778582028649498</c:v>
                </c:pt>
                <c:pt idx="11">
                  <c:v>0.44745614777152776</c:v>
                </c:pt>
                <c:pt idx="12">
                  <c:v>0.54819299780545849</c:v>
                </c:pt>
                <c:pt idx="13">
                  <c:v>0.65216918456588779</c:v>
                </c:pt>
                <c:pt idx="14">
                  <c:v>0.65097662133066703</c:v>
                </c:pt>
                <c:pt idx="15">
                  <c:v>0.49123588619472308</c:v>
                </c:pt>
                <c:pt idx="16">
                  <c:v>0.27066063374694932</c:v>
                </c:pt>
                <c:pt idx="17">
                  <c:v>0.14769023579640975</c:v>
                </c:pt>
                <c:pt idx="18">
                  <c:v>9.8799737611833E-2</c:v>
                </c:pt>
                <c:pt idx="19">
                  <c:v>7.4874471743674412E-2</c:v>
                </c:pt>
                <c:pt idx="20">
                  <c:v>5.7393893710297933E-2</c:v>
                </c:pt>
                <c:pt idx="21">
                  <c:v>4.5693041552667901E-2</c:v>
                </c:pt>
                <c:pt idx="22">
                  <c:v>3.5595887344688798E-2</c:v>
                </c:pt>
                <c:pt idx="23">
                  <c:v>2.6395583235976478E-2</c:v>
                </c:pt>
                <c:pt idx="24">
                  <c:v>2.003503488612372E-2</c:v>
                </c:pt>
                <c:pt idx="25">
                  <c:v>1.63773348330143E-2</c:v>
                </c:pt>
                <c:pt idx="26">
                  <c:v>1.3285489611522963E-2</c:v>
                </c:pt>
                <c:pt idx="27">
                  <c:v>1.0193630374159098E-2</c:v>
                </c:pt>
                <c:pt idx="28">
                  <c:v>7.1013797702932733E-3</c:v>
                </c:pt>
                <c:pt idx="29">
                  <c:v>7.0778867662801802E-3</c:v>
                </c:pt>
                <c:pt idx="30">
                  <c:v>7.053769200785002E-3</c:v>
                </c:pt>
                <c:pt idx="31">
                  <c:v>9.3727297447643351E-3</c:v>
                </c:pt>
                <c:pt idx="32">
                  <c:v>1.19396936809728E-2</c:v>
                </c:pt>
                <c:pt idx="33">
                  <c:v>1.3118105739622733E-2</c:v>
                </c:pt>
                <c:pt idx="34">
                  <c:v>1.4695538847353603E-2</c:v>
                </c:pt>
                <c:pt idx="35">
                  <c:v>1.9283640935902107E-2</c:v>
                </c:pt>
                <c:pt idx="36">
                  <c:v>2.3017645249228901E-2</c:v>
                </c:pt>
                <c:pt idx="37">
                  <c:v>2.6027159304920999E-2</c:v>
                </c:pt>
                <c:pt idx="38">
                  <c:v>2.5270165197621985E-2</c:v>
                </c:pt>
                <c:pt idx="39">
                  <c:v>2.9668629585553802E-2</c:v>
                </c:pt>
                <c:pt idx="40">
                  <c:v>2.9057371064517216E-2</c:v>
                </c:pt>
                <c:pt idx="41">
                  <c:v>2.9554253403680199E-2</c:v>
                </c:pt>
                <c:pt idx="42">
                  <c:v>2.5941826010150756E-2</c:v>
                </c:pt>
                <c:pt idx="43">
                  <c:v>2.6398382980000606E-2</c:v>
                </c:pt>
                <c:pt idx="44">
                  <c:v>2.1432672237304651E-2</c:v>
                </c:pt>
                <c:pt idx="45">
                  <c:v>1.93152641594911E-2</c:v>
                </c:pt>
                <c:pt idx="46">
                  <c:v>1.8943115802432266E-2</c:v>
                </c:pt>
                <c:pt idx="47">
                  <c:v>1.5851270469511701E-2</c:v>
                </c:pt>
                <c:pt idx="48">
                  <c:v>1.8895292199158802E-2</c:v>
                </c:pt>
                <c:pt idx="49">
                  <c:v>2.1953362706567808E-2</c:v>
                </c:pt>
                <c:pt idx="50">
                  <c:v>2.9603402452497651E-2</c:v>
                </c:pt>
                <c:pt idx="51">
                  <c:v>3.8377974845122204E-2</c:v>
                </c:pt>
                <c:pt idx="52">
                  <c:v>3.8741210617363173E-2</c:v>
                </c:pt>
                <c:pt idx="53">
                  <c:v>3.8717298146191702E-2</c:v>
                </c:pt>
                <c:pt idx="54">
                  <c:v>3.56254529048168E-2</c:v>
                </c:pt>
                <c:pt idx="55">
                  <c:v>3.2533607860957305E-2</c:v>
                </c:pt>
                <c:pt idx="56">
                  <c:v>3.3031754747727897E-2</c:v>
                </c:pt>
                <c:pt idx="57">
                  <c:v>4.1576248623428701E-2</c:v>
                </c:pt>
                <c:pt idx="58">
                  <c:v>5.9368466128532651E-2</c:v>
                </c:pt>
                <c:pt idx="59">
                  <c:v>8.8065803666811229E-2</c:v>
                </c:pt>
                <c:pt idx="60">
                  <c:v>0.14087231921629101</c:v>
                </c:pt>
                <c:pt idx="61">
                  <c:v>0.24285640685754248</c:v>
                </c:pt>
                <c:pt idx="62">
                  <c:v>0.39615639223015114</c:v>
                </c:pt>
                <c:pt idx="63">
                  <c:v>0.47663520588947089</c:v>
                </c:pt>
                <c:pt idx="64">
                  <c:v>0.4499178030659069</c:v>
                </c:pt>
                <c:pt idx="65">
                  <c:v>0.31741287675459473</c:v>
                </c:pt>
                <c:pt idx="66">
                  <c:v>0.16525562265138297</c:v>
                </c:pt>
                <c:pt idx="67">
                  <c:v>6.9790792365254303E-2</c:v>
                </c:pt>
                <c:pt idx="68">
                  <c:v>2.6562514803889301E-2</c:v>
                </c:pt>
                <c:pt idx="69">
                  <c:v>1.5325206635299899E-2</c:v>
                </c:pt>
                <c:pt idx="70">
                  <c:v>1.00976272652059E-2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D853-4C07-A3F9-D422ED7C3890}"/>
            </c:ext>
          </c:extLst>
        </c:ser>
        <c:ser>
          <c:idx val="1"/>
          <c:order val="1"/>
          <c:tx>
            <c:strRef>
              <c:f>'Chlorophyll a and b Absorpt (2)'!$M$1</c:f>
              <c:strCache>
                <c:ptCount val="1"/>
                <c:pt idx="0">
                  <c:v>Chlorophyll b</c:v>
                </c:pt>
              </c:strCache>
            </c:strRef>
          </c:tx>
          <c:spPr>
            <a:ln>
              <a:solidFill>
                <a:srgbClr val="00B050"/>
              </a:solidFill>
              <a:prstDash val="dash"/>
            </a:ln>
          </c:spPr>
          <c:marker>
            <c:symbol val="none"/>
          </c:marker>
          <c:xVal>
            <c:numRef>
              <c:f>'Chlorophyll a and b Absorpt (2)'!$K$2:$K$103</c:f>
              <c:numCache>
                <c:formatCode>General</c:formatCode>
                <c:ptCount val="102"/>
                <c:pt idx="1">
                  <c:v>360</c:v>
                </c:pt>
                <c:pt idx="2">
                  <c:v>365</c:v>
                </c:pt>
                <c:pt idx="3">
                  <c:v>370</c:v>
                </c:pt>
                <c:pt idx="4">
                  <c:v>375</c:v>
                </c:pt>
                <c:pt idx="5">
                  <c:v>380</c:v>
                </c:pt>
                <c:pt idx="6">
                  <c:v>385</c:v>
                </c:pt>
                <c:pt idx="7">
                  <c:v>390</c:v>
                </c:pt>
                <c:pt idx="8">
                  <c:v>395</c:v>
                </c:pt>
                <c:pt idx="9">
                  <c:v>400</c:v>
                </c:pt>
                <c:pt idx="10">
                  <c:v>405</c:v>
                </c:pt>
                <c:pt idx="11">
                  <c:v>410</c:v>
                </c:pt>
                <c:pt idx="12">
                  <c:v>415</c:v>
                </c:pt>
                <c:pt idx="13">
                  <c:v>420</c:v>
                </c:pt>
                <c:pt idx="14">
                  <c:v>425</c:v>
                </c:pt>
                <c:pt idx="15">
                  <c:v>430</c:v>
                </c:pt>
                <c:pt idx="16">
                  <c:v>435</c:v>
                </c:pt>
                <c:pt idx="17">
                  <c:v>440</c:v>
                </c:pt>
                <c:pt idx="18">
                  <c:v>445</c:v>
                </c:pt>
                <c:pt idx="19">
                  <c:v>450</c:v>
                </c:pt>
                <c:pt idx="20">
                  <c:v>455</c:v>
                </c:pt>
                <c:pt idx="21">
                  <c:v>460</c:v>
                </c:pt>
                <c:pt idx="22">
                  <c:v>465</c:v>
                </c:pt>
                <c:pt idx="23">
                  <c:v>470</c:v>
                </c:pt>
                <c:pt idx="24">
                  <c:v>475</c:v>
                </c:pt>
                <c:pt idx="25">
                  <c:v>480</c:v>
                </c:pt>
                <c:pt idx="26">
                  <c:v>485</c:v>
                </c:pt>
                <c:pt idx="27">
                  <c:v>490</c:v>
                </c:pt>
                <c:pt idx="28">
                  <c:v>495</c:v>
                </c:pt>
                <c:pt idx="29">
                  <c:v>500</c:v>
                </c:pt>
                <c:pt idx="30">
                  <c:v>505</c:v>
                </c:pt>
                <c:pt idx="31">
                  <c:v>510</c:v>
                </c:pt>
                <c:pt idx="32">
                  <c:v>515</c:v>
                </c:pt>
                <c:pt idx="33">
                  <c:v>520</c:v>
                </c:pt>
                <c:pt idx="34">
                  <c:v>525</c:v>
                </c:pt>
                <c:pt idx="35">
                  <c:v>530</c:v>
                </c:pt>
                <c:pt idx="36">
                  <c:v>535</c:v>
                </c:pt>
                <c:pt idx="37">
                  <c:v>540</c:v>
                </c:pt>
                <c:pt idx="38">
                  <c:v>545</c:v>
                </c:pt>
                <c:pt idx="39">
                  <c:v>550</c:v>
                </c:pt>
                <c:pt idx="40">
                  <c:v>555</c:v>
                </c:pt>
                <c:pt idx="41">
                  <c:v>560</c:v>
                </c:pt>
                <c:pt idx="42">
                  <c:v>565</c:v>
                </c:pt>
                <c:pt idx="43">
                  <c:v>570</c:v>
                </c:pt>
                <c:pt idx="44">
                  <c:v>575</c:v>
                </c:pt>
                <c:pt idx="45">
                  <c:v>580</c:v>
                </c:pt>
                <c:pt idx="46">
                  <c:v>585</c:v>
                </c:pt>
                <c:pt idx="47">
                  <c:v>590</c:v>
                </c:pt>
                <c:pt idx="48">
                  <c:v>595</c:v>
                </c:pt>
                <c:pt idx="49">
                  <c:v>600</c:v>
                </c:pt>
                <c:pt idx="50">
                  <c:v>605</c:v>
                </c:pt>
                <c:pt idx="51">
                  <c:v>610</c:v>
                </c:pt>
                <c:pt idx="52">
                  <c:v>615</c:v>
                </c:pt>
                <c:pt idx="53">
                  <c:v>620</c:v>
                </c:pt>
                <c:pt idx="54">
                  <c:v>625</c:v>
                </c:pt>
                <c:pt idx="55">
                  <c:v>630</c:v>
                </c:pt>
                <c:pt idx="56">
                  <c:v>635</c:v>
                </c:pt>
                <c:pt idx="57">
                  <c:v>640</c:v>
                </c:pt>
                <c:pt idx="58">
                  <c:v>645</c:v>
                </c:pt>
                <c:pt idx="59">
                  <c:v>650</c:v>
                </c:pt>
                <c:pt idx="60">
                  <c:v>655</c:v>
                </c:pt>
                <c:pt idx="61">
                  <c:v>660</c:v>
                </c:pt>
                <c:pt idx="62">
                  <c:v>665</c:v>
                </c:pt>
                <c:pt idx="63">
                  <c:v>670</c:v>
                </c:pt>
                <c:pt idx="64">
                  <c:v>675</c:v>
                </c:pt>
                <c:pt idx="65">
                  <c:v>680</c:v>
                </c:pt>
                <c:pt idx="66">
                  <c:v>685</c:v>
                </c:pt>
                <c:pt idx="67">
                  <c:v>690</c:v>
                </c:pt>
                <c:pt idx="68">
                  <c:v>695</c:v>
                </c:pt>
                <c:pt idx="69">
                  <c:v>700</c:v>
                </c:pt>
                <c:pt idx="70">
                  <c:v>705</c:v>
                </c:pt>
                <c:pt idx="71">
                  <c:v>710</c:v>
                </c:pt>
                <c:pt idx="72">
                  <c:v>715</c:v>
                </c:pt>
                <c:pt idx="73">
                  <c:v>720</c:v>
                </c:pt>
                <c:pt idx="74">
                  <c:v>725</c:v>
                </c:pt>
                <c:pt idx="75">
                  <c:v>730</c:v>
                </c:pt>
                <c:pt idx="76">
                  <c:v>735</c:v>
                </c:pt>
                <c:pt idx="77">
                  <c:v>740</c:v>
                </c:pt>
                <c:pt idx="78">
                  <c:v>745</c:v>
                </c:pt>
                <c:pt idx="79">
                  <c:v>750</c:v>
                </c:pt>
                <c:pt idx="80">
                  <c:v>755</c:v>
                </c:pt>
                <c:pt idx="81">
                  <c:v>760</c:v>
                </c:pt>
                <c:pt idx="82">
                  <c:v>765</c:v>
                </c:pt>
                <c:pt idx="83">
                  <c:v>770</c:v>
                </c:pt>
                <c:pt idx="84">
                  <c:v>775</c:v>
                </c:pt>
                <c:pt idx="85">
                  <c:v>780</c:v>
                </c:pt>
                <c:pt idx="86">
                  <c:v>785</c:v>
                </c:pt>
                <c:pt idx="87">
                  <c:v>790</c:v>
                </c:pt>
                <c:pt idx="88">
                  <c:v>795</c:v>
                </c:pt>
                <c:pt idx="89">
                  <c:v>800</c:v>
                </c:pt>
                <c:pt idx="90">
                  <c:v>805</c:v>
                </c:pt>
                <c:pt idx="91">
                  <c:v>810</c:v>
                </c:pt>
                <c:pt idx="92">
                  <c:v>815</c:v>
                </c:pt>
                <c:pt idx="93">
                  <c:v>820</c:v>
                </c:pt>
                <c:pt idx="94">
                  <c:v>825</c:v>
                </c:pt>
                <c:pt idx="95">
                  <c:v>830</c:v>
                </c:pt>
                <c:pt idx="96">
                  <c:v>835</c:v>
                </c:pt>
                <c:pt idx="97">
                  <c:v>840</c:v>
                </c:pt>
                <c:pt idx="98">
                  <c:v>845</c:v>
                </c:pt>
                <c:pt idx="99">
                  <c:v>850</c:v>
                </c:pt>
                <c:pt idx="100">
                  <c:v>855</c:v>
                </c:pt>
                <c:pt idx="101">
                  <c:v>860</c:v>
                </c:pt>
              </c:numCache>
            </c:numRef>
          </c:xVal>
          <c:yVal>
            <c:numRef>
              <c:f>'Chlorophyll a and b Absorpt (2)'!$M$2:$M$103</c:f>
              <c:numCache>
                <c:formatCode>General</c:formatCode>
                <c:ptCount val="102"/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8.2942668412568379E-2</c:v>
                </c:pt>
                <c:pt idx="9">
                  <c:v>0.117330082053722</c:v>
                </c:pt>
                <c:pt idx="10">
                  <c:v>0.14838369850312338</c:v>
                </c:pt>
                <c:pt idx="11">
                  <c:v>0.18490060435291639</c:v>
                </c:pt>
                <c:pt idx="12">
                  <c:v>0.22579193946801601</c:v>
                </c:pt>
                <c:pt idx="13">
                  <c:v>0.26566101075732679</c:v>
                </c:pt>
                <c:pt idx="14">
                  <c:v>0.31802612324869756</c:v>
                </c:pt>
                <c:pt idx="15">
                  <c:v>0.33866799138879555</c:v>
                </c:pt>
                <c:pt idx="16">
                  <c:v>0.346395536748556</c:v>
                </c:pt>
                <c:pt idx="17">
                  <c:v>0.40052511889333275</c:v>
                </c:pt>
                <c:pt idx="18">
                  <c:v>0.49718231541786273</c:v>
                </c:pt>
                <c:pt idx="19">
                  <c:v>0.56778546588656498</c:v>
                </c:pt>
                <c:pt idx="20">
                  <c:v>0.76785029477192901</c:v>
                </c:pt>
                <c:pt idx="21">
                  <c:v>0.85839986488715603</c:v>
                </c:pt>
                <c:pt idx="22">
                  <c:v>0.84511466647802502</c:v>
                </c:pt>
                <c:pt idx="23">
                  <c:v>0.74695082287701164</c:v>
                </c:pt>
                <c:pt idx="24">
                  <c:v>0.54148406307983599</c:v>
                </c:pt>
                <c:pt idx="25">
                  <c:v>0.32481162750691089</c:v>
                </c:pt>
                <c:pt idx="26">
                  <c:v>0.153624748483778</c:v>
                </c:pt>
                <c:pt idx="27">
                  <c:v>9.4757374572664213E-2</c:v>
                </c:pt>
                <c:pt idx="28">
                  <c:v>6.9840193917005411E-2</c:v>
                </c:pt>
                <c:pt idx="29">
                  <c:v>5.0035823405627802E-2</c:v>
                </c:pt>
                <c:pt idx="30">
                  <c:v>3.9811113672382811E-2</c:v>
                </c:pt>
                <c:pt idx="31">
                  <c:v>3.2030478802400016E-2</c:v>
                </c:pt>
                <c:pt idx="32">
                  <c:v>2.7337579758243677E-2</c:v>
                </c:pt>
                <c:pt idx="33">
                  <c:v>2.4437242497943958E-2</c:v>
                </c:pt>
                <c:pt idx="34">
                  <c:v>2.3442578990627488E-2</c:v>
                </c:pt>
                <c:pt idx="35">
                  <c:v>1.9094230259069405E-2</c:v>
                </c:pt>
                <c:pt idx="36">
                  <c:v>1.4678033120831963E-2</c:v>
                </c:pt>
                <c:pt idx="37">
                  <c:v>1.0060520805768455E-2</c:v>
                </c:pt>
                <c:pt idx="38">
                  <c:v>6.1722406004958534E-3</c:v>
                </c:pt>
                <c:pt idx="39">
                  <c:v>5.30480033454703E-3</c:v>
                </c:pt>
                <c:pt idx="40">
                  <c:v>5.2808879028777098E-3</c:v>
                </c:pt>
                <c:pt idx="41">
                  <c:v>5.5351009394141544E-3</c:v>
                </c:pt>
                <c:pt idx="42">
                  <c:v>9.0487003047300014E-3</c:v>
                </c:pt>
                <c:pt idx="43">
                  <c:v>1.2582243005074292E-2</c:v>
                </c:pt>
                <c:pt idx="44">
                  <c:v>2.5774921891339678E-2</c:v>
                </c:pt>
                <c:pt idx="45">
                  <c:v>3.5399296629878611E-2</c:v>
                </c:pt>
                <c:pt idx="46">
                  <c:v>4.3179585260623286E-2</c:v>
                </c:pt>
                <c:pt idx="47">
                  <c:v>4.5763763771484001E-2</c:v>
                </c:pt>
                <c:pt idx="48">
                  <c:v>4.5028787123918404E-2</c:v>
                </c:pt>
                <c:pt idx="49">
                  <c:v>3.9446677653272297E-2</c:v>
                </c:pt>
                <c:pt idx="50">
                  <c:v>3.2583808913615321E-2</c:v>
                </c:pt>
                <c:pt idx="51">
                  <c:v>2.2658728007644801E-2</c:v>
                </c:pt>
                <c:pt idx="52">
                  <c:v>2.0333610701686201E-2</c:v>
                </c:pt>
                <c:pt idx="53">
                  <c:v>2.0134078485756414E-2</c:v>
                </c:pt>
                <c:pt idx="54">
                  <c:v>2.0399752929401511E-2</c:v>
                </c:pt>
                <c:pt idx="55">
                  <c:v>2.8758970285051502E-2</c:v>
                </c:pt>
                <c:pt idx="56">
                  <c:v>4.1786449051495513E-2</c:v>
                </c:pt>
                <c:pt idx="57">
                  <c:v>6.6162862294545599E-2</c:v>
                </c:pt>
                <c:pt idx="58">
                  <c:v>0.11770073477302424</c:v>
                </c:pt>
                <c:pt idx="59">
                  <c:v>0.26059368646121722</c:v>
                </c:pt>
                <c:pt idx="60">
                  <c:v>0.26915787543956632</c:v>
                </c:pt>
                <c:pt idx="61">
                  <c:v>0.22260324560468187</c:v>
                </c:pt>
                <c:pt idx="62">
                  <c:v>0.13030488752233363</c:v>
                </c:pt>
                <c:pt idx="63">
                  <c:v>7.37038937099804E-2</c:v>
                </c:pt>
                <c:pt idx="64">
                  <c:v>3.6411417960322504E-2</c:v>
                </c:pt>
                <c:pt idx="65">
                  <c:v>1.8527318298789151E-2</c:v>
                </c:pt>
                <c:pt idx="66">
                  <c:v>8.7306697573309201E-3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D853-4C07-A3F9-D422ED7C3890}"/>
            </c:ext>
          </c:extLst>
        </c:ser>
        <c:ser>
          <c:idx val="2"/>
          <c:order val="2"/>
          <c:tx>
            <c:strRef>
              <c:f>'Chlorophyll a and b Absorpt (2)'!$N$1</c:f>
              <c:strCache>
                <c:ptCount val="1"/>
                <c:pt idx="0">
                  <c:v>Carotenoid</c:v>
                </c:pt>
              </c:strCache>
            </c:strRef>
          </c:tx>
          <c:spPr>
            <a:ln>
              <a:solidFill>
                <a:schemeClr val="accent6">
                  <a:lumMod val="60000"/>
                  <a:lumOff val="40000"/>
                </a:schemeClr>
              </a:solidFill>
              <a:prstDash val="dash"/>
            </a:ln>
          </c:spPr>
          <c:marker>
            <c:symbol val="none"/>
          </c:marker>
          <c:xVal>
            <c:numRef>
              <c:f>'Chlorophyll a and b Absorpt (2)'!$K$2:$K$103</c:f>
              <c:numCache>
                <c:formatCode>General</c:formatCode>
                <c:ptCount val="102"/>
                <c:pt idx="1">
                  <c:v>360</c:v>
                </c:pt>
                <c:pt idx="2">
                  <c:v>365</c:v>
                </c:pt>
                <c:pt idx="3">
                  <c:v>370</c:v>
                </c:pt>
                <c:pt idx="4">
                  <c:v>375</c:v>
                </c:pt>
                <c:pt idx="5">
                  <c:v>380</c:v>
                </c:pt>
                <c:pt idx="6">
                  <c:v>385</c:v>
                </c:pt>
                <c:pt idx="7">
                  <c:v>390</c:v>
                </c:pt>
                <c:pt idx="8">
                  <c:v>395</c:v>
                </c:pt>
                <c:pt idx="9">
                  <c:v>400</c:v>
                </c:pt>
                <c:pt idx="10">
                  <c:v>405</c:v>
                </c:pt>
                <c:pt idx="11">
                  <c:v>410</c:v>
                </c:pt>
                <c:pt idx="12">
                  <c:v>415</c:v>
                </c:pt>
                <c:pt idx="13">
                  <c:v>420</c:v>
                </c:pt>
                <c:pt idx="14">
                  <c:v>425</c:v>
                </c:pt>
                <c:pt idx="15">
                  <c:v>430</c:v>
                </c:pt>
                <c:pt idx="16">
                  <c:v>435</c:v>
                </c:pt>
                <c:pt idx="17">
                  <c:v>440</c:v>
                </c:pt>
                <c:pt idx="18">
                  <c:v>445</c:v>
                </c:pt>
                <c:pt idx="19">
                  <c:v>450</c:v>
                </c:pt>
                <c:pt idx="20">
                  <c:v>455</c:v>
                </c:pt>
                <c:pt idx="21">
                  <c:v>460</c:v>
                </c:pt>
                <c:pt idx="22">
                  <c:v>465</c:v>
                </c:pt>
                <c:pt idx="23">
                  <c:v>470</c:v>
                </c:pt>
                <c:pt idx="24">
                  <c:v>475</c:v>
                </c:pt>
                <c:pt idx="25">
                  <c:v>480</c:v>
                </c:pt>
                <c:pt idx="26">
                  <c:v>485</c:v>
                </c:pt>
                <c:pt idx="27">
                  <c:v>490</c:v>
                </c:pt>
                <c:pt idx="28">
                  <c:v>495</c:v>
                </c:pt>
                <c:pt idx="29">
                  <c:v>500</c:v>
                </c:pt>
                <c:pt idx="30">
                  <c:v>505</c:v>
                </c:pt>
                <c:pt idx="31">
                  <c:v>510</c:v>
                </c:pt>
                <c:pt idx="32">
                  <c:v>515</c:v>
                </c:pt>
                <c:pt idx="33">
                  <c:v>520</c:v>
                </c:pt>
                <c:pt idx="34">
                  <c:v>525</c:v>
                </c:pt>
                <c:pt idx="35">
                  <c:v>530</c:v>
                </c:pt>
                <c:pt idx="36">
                  <c:v>535</c:v>
                </c:pt>
                <c:pt idx="37">
                  <c:v>540</c:v>
                </c:pt>
                <c:pt idx="38">
                  <c:v>545</c:v>
                </c:pt>
                <c:pt idx="39">
                  <c:v>550</c:v>
                </c:pt>
                <c:pt idx="40">
                  <c:v>555</c:v>
                </c:pt>
                <c:pt idx="41">
                  <c:v>560</c:v>
                </c:pt>
                <c:pt idx="42">
                  <c:v>565</c:v>
                </c:pt>
                <c:pt idx="43">
                  <c:v>570</c:v>
                </c:pt>
                <c:pt idx="44">
                  <c:v>575</c:v>
                </c:pt>
                <c:pt idx="45">
                  <c:v>580</c:v>
                </c:pt>
                <c:pt idx="46">
                  <c:v>585</c:v>
                </c:pt>
                <c:pt idx="47">
                  <c:v>590</c:v>
                </c:pt>
                <c:pt idx="48">
                  <c:v>595</c:v>
                </c:pt>
                <c:pt idx="49">
                  <c:v>600</c:v>
                </c:pt>
                <c:pt idx="50">
                  <c:v>605</c:v>
                </c:pt>
                <c:pt idx="51">
                  <c:v>610</c:v>
                </c:pt>
                <c:pt idx="52">
                  <c:v>615</c:v>
                </c:pt>
                <c:pt idx="53">
                  <c:v>620</c:v>
                </c:pt>
                <c:pt idx="54">
                  <c:v>625</c:v>
                </c:pt>
                <c:pt idx="55">
                  <c:v>630</c:v>
                </c:pt>
                <c:pt idx="56">
                  <c:v>635</c:v>
                </c:pt>
                <c:pt idx="57">
                  <c:v>640</c:v>
                </c:pt>
                <c:pt idx="58">
                  <c:v>645</c:v>
                </c:pt>
                <c:pt idx="59">
                  <c:v>650</c:v>
                </c:pt>
                <c:pt idx="60">
                  <c:v>655</c:v>
                </c:pt>
                <c:pt idx="61">
                  <c:v>660</c:v>
                </c:pt>
                <c:pt idx="62">
                  <c:v>665</c:v>
                </c:pt>
                <c:pt idx="63">
                  <c:v>670</c:v>
                </c:pt>
                <c:pt idx="64">
                  <c:v>675</c:v>
                </c:pt>
                <c:pt idx="65">
                  <c:v>680</c:v>
                </c:pt>
                <c:pt idx="66">
                  <c:v>685</c:v>
                </c:pt>
                <c:pt idx="67">
                  <c:v>690</c:v>
                </c:pt>
                <c:pt idx="68">
                  <c:v>695</c:v>
                </c:pt>
                <c:pt idx="69">
                  <c:v>700</c:v>
                </c:pt>
                <c:pt idx="70">
                  <c:v>705</c:v>
                </c:pt>
                <c:pt idx="71">
                  <c:v>710</c:v>
                </c:pt>
                <c:pt idx="72">
                  <c:v>715</c:v>
                </c:pt>
                <c:pt idx="73">
                  <c:v>720</c:v>
                </c:pt>
                <c:pt idx="74">
                  <c:v>725</c:v>
                </c:pt>
                <c:pt idx="75">
                  <c:v>730</c:v>
                </c:pt>
                <c:pt idx="76">
                  <c:v>735</c:v>
                </c:pt>
                <c:pt idx="77">
                  <c:v>740</c:v>
                </c:pt>
                <c:pt idx="78">
                  <c:v>745</c:v>
                </c:pt>
                <c:pt idx="79">
                  <c:v>750</c:v>
                </c:pt>
                <c:pt idx="80">
                  <c:v>755</c:v>
                </c:pt>
                <c:pt idx="81">
                  <c:v>760</c:v>
                </c:pt>
                <c:pt idx="82">
                  <c:v>765</c:v>
                </c:pt>
                <c:pt idx="83">
                  <c:v>770</c:v>
                </c:pt>
                <c:pt idx="84">
                  <c:v>775</c:v>
                </c:pt>
                <c:pt idx="85">
                  <c:v>780</c:v>
                </c:pt>
                <c:pt idx="86">
                  <c:v>785</c:v>
                </c:pt>
                <c:pt idx="87">
                  <c:v>790</c:v>
                </c:pt>
                <c:pt idx="88">
                  <c:v>795</c:v>
                </c:pt>
                <c:pt idx="89">
                  <c:v>800</c:v>
                </c:pt>
                <c:pt idx="90">
                  <c:v>805</c:v>
                </c:pt>
                <c:pt idx="91">
                  <c:v>810</c:v>
                </c:pt>
                <c:pt idx="92">
                  <c:v>815</c:v>
                </c:pt>
                <c:pt idx="93">
                  <c:v>820</c:v>
                </c:pt>
                <c:pt idx="94">
                  <c:v>825</c:v>
                </c:pt>
                <c:pt idx="95">
                  <c:v>830</c:v>
                </c:pt>
                <c:pt idx="96">
                  <c:v>835</c:v>
                </c:pt>
                <c:pt idx="97">
                  <c:v>840</c:v>
                </c:pt>
                <c:pt idx="98">
                  <c:v>845</c:v>
                </c:pt>
                <c:pt idx="99">
                  <c:v>850</c:v>
                </c:pt>
                <c:pt idx="100">
                  <c:v>855</c:v>
                </c:pt>
                <c:pt idx="101">
                  <c:v>860</c:v>
                </c:pt>
              </c:numCache>
            </c:numRef>
          </c:xVal>
          <c:yVal>
            <c:numRef>
              <c:f>'Chlorophyll a and b Absorpt (2)'!$N$2:$N$103</c:f>
              <c:numCache>
                <c:formatCode>General</c:formatCode>
                <c:ptCount val="102"/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.21712276922259488</c:v>
                </c:pt>
                <c:pt idx="9">
                  <c:v>0.229810273606643</c:v>
                </c:pt>
                <c:pt idx="10">
                  <c:v>0.24431660672191199</c:v>
                </c:pt>
                <c:pt idx="11">
                  <c:v>0.26127841862326101</c:v>
                </c:pt>
                <c:pt idx="12">
                  <c:v>0.27772935170173879</c:v>
                </c:pt>
                <c:pt idx="13">
                  <c:v>0.29392842081062426</c:v>
                </c:pt>
                <c:pt idx="14">
                  <c:v>0.29837093084351501</c:v>
                </c:pt>
                <c:pt idx="15">
                  <c:v>0.27157175418233676</c:v>
                </c:pt>
                <c:pt idx="16">
                  <c:v>0.26786244652442198</c:v>
                </c:pt>
                <c:pt idx="17">
                  <c:v>0.30222422452470832</c:v>
                </c:pt>
                <c:pt idx="18">
                  <c:v>0.44368269473810401</c:v>
                </c:pt>
                <c:pt idx="19">
                  <c:v>0.51676315664216199</c:v>
                </c:pt>
                <c:pt idx="20">
                  <c:v>0.59473707117779251</c:v>
                </c:pt>
                <c:pt idx="21">
                  <c:v>0.60390700412734799</c:v>
                </c:pt>
                <c:pt idx="22">
                  <c:v>0.51019276235592059</c:v>
                </c:pt>
                <c:pt idx="23">
                  <c:v>0.44505168330393902</c:v>
                </c:pt>
                <c:pt idx="24">
                  <c:v>0.45622899214892998</c:v>
                </c:pt>
                <c:pt idx="25">
                  <c:v>0.53395480116402105</c:v>
                </c:pt>
                <c:pt idx="26">
                  <c:v>0.57121245086917805</c:v>
                </c:pt>
                <c:pt idx="27">
                  <c:v>0.57088894587419603</c:v>
                </c:pt>
                <c:pt idx="28">
                  <c:v>0.5424190207669346</c:v>
                </c:pt>
                <c:pt idx="29">
                  <c:v>0.464203467283196</c:v>
                </c:pt>
                <c:pt idx="30">
                  <c:v>0.33622296310826333</c:v>
                </c:pt>
                <c:pt idx="31">
                  <c:v>0.18775892039382538</c:v>
                </c:pt>
                <c:pt idx="32">
                  <c:v>8.4942163102955784E-2</c:v>
                </c:pt>
                <c:pt idx="33">
                  <c:v>3.1811539949642399E-2</c:v>
                </c:pt>
                <c:pt idx="34">
                  <c:v>1.0345521884885654E-2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D853-4C07-A3F9-D422ED7C3890}"/>
            </c:ext>
          </c:extLst>
        </c:ser>
        <c:ser>
          <c:idx val="5"/>
          <c:order val="3"/>
          <c:tx>
            <c:strRef>
              <c:f>'Chlorophyll a and b Absorpt (2)'!$Q$1</c:f>
              <c:strCache>
                <c:ptCount val="1"/>
                <c:pt idx="0">
                  <c:v>Phytochrome Pr</c:v>
                </c:pt>
              </c:strCache>
            </c:strRef>
          </c:tx>
          <c:spPr>
            <a:ln>
              <a:solidFill>
                <a:srgbClr val="FF0000"/>
              </a:solidFill>
              <a:prstDash val="dash"/>
            </a:ln>
          </c:spPr>
          <c:marker>
            <c:symbol val="none"/>
          </c:marker>
          <c:xVal>
            <c:numRef>
              <c:f>'Chlorophyll a and b Absorpt (2)'!$K$2:$K$103</c:f>
              <c:numCache>
                <c:formatCode>General</c:formatCode>
                <c:ptCount val="102"/>
                <c:pt idx="1">
                  <c:v>360</c:v>
                </c:pt>
                <c:pt idx="2">
                  <c:v>365</c:v>
                </c:pt>
                <c:pt idx="3">
                  <c:v>370</c:v>
                </c:pt>
                <c:pt idx="4">
                  <c:v>375</c:v>
                </c:pt>
                <c:pt idx="5">
                  <c:v>380</c:v>
                </c:pt>
                <c:pt idx="6">
                  <c:v>385</c:v>
                </c:pt>
                <c:pt idx="7">
                  <c:v>390</c:v>
                </c:pt>
                <c:pt idx="8">
                  <c:v>395</c:v>
                </c:pt>
                <c:pt idx="9">
                  <c:v>400</c:v>
                </c:pt>
                <c:pt idx="10">
                  <c:v>405</c:v>
                </c:pt>
                <c:pt idx="11">
                  <c:v>410</c:v>
                </c:pt>
                <c:pt idx="12">
                  <c:v>415</c:v>
                </c:pt>
                <c:pt idx="13">
                  <c:v>420</c:v>
                </c:pt>
                <c:pt idx="14">
                  <c:v>425</c:v>
                </c:pt>
                <c:pt idx="15">
                  <c:v>430</c:v>
                </c:pt>
                <c:pt idx="16">
                  <c:v>435</c:v>
                </c:pt>
                <c:pt idx="17">
                  <c:v>440</c:v>
                </c:pt>
                <c:pt idx="18">
                  <c:v>445</c:v>
                </c:pt>
                <c:pt idx="19">
                  <c:v>450</c:v>
                </c:pt>
                <c:pt idx="20">
                  <c:v>455</c:v>
                </c:pt>
                <c:pt idx="21">
                  <c:v>460</c:v>
                </c:pt>
                <c:pt idx="22">
                  <c:v>465</c:v>
                </c:pt>
                <c:pt idx="23">
                  <c:v>470</c:v>
                </c:pt>
                <c:pt idx="24">
                  <c:v>475</c:v>
                </c:pt>
                <c:pt idx="25">
                  <c:v>480</c:v>
                </c:pt>
                <c:pt idx="26">
                  <c:v>485</c:v>
                </c:pt>
                <c:pt idx="27">
                  <c:v>490</c:v>
                </c:pt>
                <c:pt idx="28">
                  <c:v>495</c:v>
                </c:pt>
                <c:pt idx="29">
                  <c:v>500</c:v>
                </c:pt>
                <c:pt idx="30">
                  <c:v>505</c:v>
                </c:pt>
                <c:pt idx="31">
                  <c:v>510</c:v>
                </c:pt>
                <c:pt idx="32">
                  <c:v>515</c:v>
                </c:pt>
                <c:pt idx="33">
                  <c:v>520</c:v>
                </c:pt>
                <c:pt idx="34">
                  <c:v>525</c:v>
                </c:pt>
                <c:pt idx="35">
                  <c:v>530</c:v>
                </c:pt>
                <c:pt idx="36">
                  <c:v>535</c:v>
                </c:pt>
                <c:pt idx="37">
                  <c:v>540</c:v>
                </c:pt>
                <c:pt idx="38">
                  <c:v>545</c:v>
                </c:pt>
                <c:pt idx="39">
                  <c:v>550</c:v>
                </c:pt>
                <c:pt idx="40">
                  <c:v>555</c:v>
                </c:pt>
                <c:pt idx="41">
                  <c:v>560</c:v>
                </c:pt>
                <c:pt idx="42">
                  <c:v>565</c:v>
                </c:pt>
                <c:pt idx="43">
                  <c:v>570</c:v>
                </c:pt>
                <c:pt idx="44">
                  <c:v>575</c:v>
                </c:pt>
                <c:pt idx="45">
                  <c:v>580</c:v>
                </c:pt>
                <c:pt idx="46">
                  <c:v>585</c:v>
                </c:pt>
                <c:pt idx="47">
                  <c:v>590</c:v>
                </c:pt>
                <c:pt idx="48">
                  <c:v>595</c:v>
                </c:pt>
                <c:pt idx="49">
                  <c:v>600</c:v>
                </c:pt>
                <c:pt idx="50">
                  <c:v>605</c:v>
                </c:pt>
                <c:pt idx="51">
                  <c:v>610</c:v>
                </c:pt>
                <c:pt idx="52">
                  <c:v>615</c:v>
                </c:pt>
                <c:pt idx="53">
                  <c:v>620</c:v>
                </c:pt>
                <c:pt idx="54">
                  <c:v>625</c:v>
                </c:pt>
                <c:pt idx="55">
                  <c:v>630</c:v>
                </c:pt>
                <c:pt idx="56">
                  <c:v>635</c:v>
                </c:pt>
                <c:pt idx="57">
                  <c:v>640</c:v>
                </c:pt>
                <c:pt idx="58">
                  <c:v>645</c:v>
                </c:pt>
                <c:pt idx="59">
                  <c:v>650</c:v>
                </c:pt>
                <c:pt idx="60">
                  <c:v>655</c:v>
                </c:pt>
                <c:pt idx="61">
                  <c:v>660</c:v>
                </c:pt>
                <c:pt idx="62">
                  <c:v>665</c:v>
                </c:pt>
                <c:pt idx="63">
                  <c:v>670</c:v>
                </c:pt>
                <c:pt idx="64">
                  <c:v>675</c:v>
                </c:pt>
                <c:pt idx="65">
                  <c:v>680</c:v>
                </c:pt>
                <c:pt idx="66">
                  <c:v>685</c:v>
                </c:pt>
                <c:pt idx="67">
                  <c:v>690</c:v>
                </c:pt>
                <c:pt idx="68">
                  <c:v>695</c:v>
                </c:pt>
                <c:pt idx="69">
                  <c:v>700</c:v>
                </c:pt>
                <c:pt idx="70">
                  <c:v>705</c:v>
                </c:pt>
                <c:pt idx="71">
                  <c:v>710</c:v>
                </c:pt>
                <c:pt idx="72">
                  <c:v>715</c:v>
                </c:pt>
                <c:pt idx="73">
                  <c:v>720</c:v>
                </c:pt>
                <c:pt idx="74">
                  <c:v>725</c:v>
                </c:pt>
                <c:pt idx="75">
                  <c:v>730</c:v>
                </c:pt>
                <c:pt idx="76">
                  <c:v>735</c:v>
                </c:pt>
                <c:pt idx="77">
                  <c:v>740</c:v>
                </c:pt>
                <c:pt idx="78">
                  <c:v>745</c:v>
                </c:pt>
                <c:pt idx="79">
                  <c:v>750</c:v>
                </c:pt>
                <c:pt idx="80">
                  <c:v>755</c:v>
                </c:pt>
                <c:pt idx="81">
                  <c:v>760</c:v>
                </c:pt>
                <c:pt idx="82">
                  <c:v>765</c:v>
                </c:pt>
                <c:pt idx="83">
                  <c:v>770</c:v>
                </c:pt>
                <c:pt idx="84">
                  <c:v>775</c:v>
                </c:pt>
                <c:pt idx="85">
                  <c:v>780</c:v>
                </c:pt>
                <c:pt idx="86">
                  <c:v>785</c:v>
                </c:pt>
                <c:pt idx="87">
                  <c:v>790</c:v>
                </c:pt>
                <c:pt idx="88">
                  <c:v>795</c:v>
                </c:pt>
                <c:pt idx="89">
                  <c:v>800</c:v>
                </c:pt>
                <c:pt idx="90">
                  <c:v>805</c:v>
                </c:pt>
                <c:pt idx="91">
                  <c:v>810</c:v>
                </c:pt>
                <c:pt idx="92">
                  <c:v>815</c:v>
                </c:pt>
                <c:pt idx="93">
                  <c:v>820</c:v>
                </c:pt>
                <c:pt idx="94">
                  <c:v>825</c:v>
                </c:pt>
                <c:pt idx="95">
                  <c:v>830</c:v>
                </c:pt>
                <c:pt idx="96">
                  <c:v>835</c:v>
                </c:pt>
                <c:pt idx="97">
                  <c:v>840</c:v>
                </c:pt>
                <c:pt idx="98">
                  <c:v>845</c:v>
                </c:pt>
                <c:pt idx="99">
                  <c:v>850</c:v>
                </c:pt>
                <c:pt idx="100">
                  <c:v>855</c:v>
                </c:pt>
                <c:pt idx="101">
                  <c:v>860</c:v>
                </c:pt>
              </c:numCache>
            </c:numRef>
          </c:xVal>
          <c:yVal>
            <c:numRef>
              <c:f>'Chlorophyll a and b Absorpt (2)'!$Q$2:$Q$103</c:f>
              <c:numCache>
                <c:formatCode>General</c:formatCode>
                <c:ptCount val="102"/>
                <c:pt idx="1">
                  <c:v>0.24823521717725575</c:v>
                </c:pt>
                <c:pt idx="2">
                  <c:v>0.25747180582379697</c:v>
                </c:pt>
                <c:pt idx="3">
                  <c:v>0.272648360410291</c:v>
                </c:pt>
                <c:pt idx="4">
                  <c:v>0.27762071822993978</c:v>
                </c:pt>
                <c:pt idx="5">
                  <c:v>0.27913455375746732</c:v>
                </c:pt>
                <c:pt idx="6">
                  <c:v>0.25814099865781498</c:v>
                </c:pt>
                <c:pt idx="7">
                  <c:v>0.23416096315819801</c:v>
                </c:pt>
                <c:pt idx="8">
                  <c:v>0.19536544617417648</c:v>
                </c:pt>
                <c:pt idx="9">
                  <c:v>0.1492074097683968</c:v>
                </c:pt>
                <c:pt idx="10">
                  <c:v>0.1088507138904618</c:v>
                </c:pt>
                <c:pt idx="11">
                  <c:v>8.3460948730397291E-2</c:v>
                </c:pt>
                <c:pt idx="12">
                  <c:v>6.8249535647840406E-2</c:v>
                </c:pt>
                <c:pt idx="13">
                  <c:v>5.9417411161590085E-2</c:v>
                </c:pt>
                <c:pt idx="14">
                  <c:v>5.3544050047478087E-2</c:v>
                </c:pt>
                <c:pt idx="15">
                  <c:v>4.8206969071453699E-2</c:v>
                </c:pt>
                <c:pt idx="16">
                  <c:v>4.1403777898772323E-2</c:v>
                </c:pt>
                <c:pt idx="17">
                  <c:v>3.5723856838017702E-2</c:v>
                </c:pt>
                <c:pt idx="18">
                  <c:v>3.3855067459776109E-2</c:v>
                </c:pt>
                <c:pt idx="19">
                  <c:v>2.7027556724868711E-2</c:v>
                </c:pt>
                <c:pt idx="20">
                  <c:v>2.37086900572775E-2</c:v>
                </c:pt>
                <c:pt idx="21">
                  <c:v>2.181971390032298E-2</c:v>
                </c:pt>
                <c:pt idx="22">
                  <c:v>2.0285285421052009E-2</c:v>
                </c:pt>
                <c:pt idx="23">
                  <c:v>2.0307191291069001E-2</c:v>
                </c:pt>
                <c:pt idx="24">
                  <c:v>1.5890060432580903E-2</c:v>
                </c:pt>
                <c:pt idx="25">
                  <c:v>1.5906434458139905E-2</c:v>
                </c:pt>
                <c:pt idx="26">
                  <c:v>1.5930379728600747E-2</c:v>
                </c:pt>
                <c:pt idx="27">
                  <c:v>1.5949467254675605E-2</c:v>
                </c:pt>
                <c:pt idx="28">
                  <c:v>1.5967970807458501E-2</c:v>
                </c:pt>
                <c:pt idx="29">
                  <c:v>1.5986473760002454E-2</c:v>
                </c:pt>
                <c:pt idx="30">
                  <c:v>1.60012168843334E-2</c:v>
                </c:pt>
                <c:pt idx="31">
                  <c:v>1.6018330042511901E-2</c:v>
                </c:pt>
                <c:pt idx="32">
                  <c:v>2.0473881761823624E-2</c:v>
                </c:pt>
                <c:pt idx="33">
                  <c:v>2.0489536400053396E-2</c:v>
                </c:pt>
                <c:pt idx="34">
                  <c:v>2.1814786764683201E-2</c:v>
                </c:pt>
                <c:pt idx="35">
                  <c:v>2.644434170973679E-2</c:v>
                </c:pt>
                <c:pt idx="36">
                  <c:v>3.3331154046068401E-2</c:v>
                </c:pt>
                <c:pt idx="37">
                  <c:v>4.1346984201440409E-2</c:v>
                </c:pt>
                <c:pt idx="38">
                  <c:v>4.9363592603614434E-2</c:v>
                </c:pt>
                <c:pt idx="39">
                  <c:v>5.8639663424614401E-2</c:v>
                </c:pt>
                <c:pt idx="40">
                  <c:v>7.0745968405808907E-2</c:v>
                </c:pt>
                <c:pt idx="41">
                  <c:v>8.1884289766680024E-2</c:v>
                </c:pt>
                <c:pt idx="42">
                  <c:v>9.2520753202933501E-2</c:v>
                </c:pt>
                <c:pt idx="43">
                  <c:v>0.11019709016168602</c:v>
                </c:pt>
                <c:pt idx="44">
                  <c:v>0.12544188244355201</c:v>
                </c:pt>
                <c:pt idx="45">
                  <c:v>0.14791566465419842</c:v>
                </c:pt>
                <c:pt idx="46">
                  <c:v>0.18163809195480199</c:v>
                </c:pt>
                <c:pt idx="47">
                  <c:v>0.20779841682331263</c:v>
                </c:pt>
                <c:pt idx="48">
                  <c:v>0.2536488616728349</c:v>
                </c:pt>
                <c:pt idx="49">
                  <c:v>0.29152745309330302</c:v>
                </c:pt>
                <c:pt idx="50">
                  <c:v>0.33028688289964775</c:v>
                </c:pt>
                <c:pt idx="51">
                  <c:v>0.35943837551543878</c:v>
                </c:pt>
                <c:pt idx="52">
                  <c:v>0.37538349752037414</c:v>
                </c:pt>
                <c:pt idx="53">
                  <c:v>0.40045328882611703</c:v>
                </c:pt>
                <c:pt idx="54">
                  <c:v>0.42114194099253699</c:v>
                </c:pt>
                <c:pt idx="55">
                  <c:v>0.47129961203630022</c:v>
                </c:pt>
                <c:pt idx="56">
                  <c:v>0.52375479715839079</c:v>
                </c:pt>
                <c:pt idx="57">
                  <c:v>0.59513691118834444</c:v>
                </c:pt>
                <c:pt idx="58">
                  <c:v>0.68003824322322504</c:v>
                </c:pt>
                <c:pt idx="59">
                  <c:v>0.7715621264357575</c:v>
                </c:pt>
                <c:pt idx="60">
                  <c:v>0.85402691437758205</c:v>
                </c:pt>
                <c:pt idx="61">
                  <c:v>0.95396498681834996</c:v>
                </c:pt>
                <c:pt idx="62">
                  <c:v>0.997325966129602</c:v>
                </c:pt>
                <c:pt idx="63">
                  <c:v>0.98259971989269757</c:v>
                </c:pt>
                <c:pt idx="64">
                  <c:v>0.832142386897474</c:v>
                </c:pt>
                <c:pt idx="65">
                  <c:v>0.64318186158084978</c:v>
                </c:pt>
                <c:pt idx="66">
                  <c:v>0.42681937127432873</c:v>
                </c:pt>
                <c:pt idx="67">
                  <c:v>0.30473629256813473</c:v>
                </c:pt>
                <c:pt idx="68">
                  <c:v>0.15802305825823401</c:v>
                </c:pt>
                <c:pt idx="69">
                  <c:v>8.8558057228798545E-2</c:v>
                </c:pt>
                <c:pt idx="70">
                  <c:v>4.9886222494688888E-2</c:v>
                </c:pt>
                <c:pt idx="71">
                  <c:v>3.0265828519247178E-2</c:v>
                </c:pt>
                <c:pt idx="72">
                  <c:v>2.0997792150884199E-2</c:v>
                </c:pt>
                <c:pt idx="73">
                  <c:v>1.23694770266585E-2</c:v>
                </c:pt>
                <c:pt idx="74">
                  <c:v>1.2199235743988901E-2</c:v>
                </c:pt>
                <c:pt idx="75">
                  <c:v>7.9728827746566241E-3</c:v>
                </c:pt>
                <c:pt idx="76">
                  <c:v>7.9898415604916419E-3</c:v>
                </c:pt>
                <c:pt idx="77">
                  <c:v>8.0137422067665751E-3</c:v>
                </c:pt>
                <c:pt idx="78">
                  <c:v>8.0328802916984181E-3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3-D853-4C07-A3F9-D422ED7C3890}"/>
            </c:ext>
          </c:extLst>
        </c:ser>
        <c:ser>
          <c:idx val="6"/>
          <c:order val="4"/>
          <c:tx>
            <c:strRef>
              <c:f>'Chlorophyll a and b Absorpt (2)'!$R$1</c:f>
              <c:strCache>
                <c:ptCount val="1"/>
                <c:pt idx="0">
                  <c:v>Phytochrome Pfr</c:v>
                </c:pt>
              </c:strCache>
            </c:strRef>
          </c:tx>
          <c:spPr>
            <a:ln>
              <a:solidFill>
                <a:srgbClr val="C00000"/>
              </a:solidFill>
              <a:prstDash val="dash"/>
            </a:ln>
          </c:spPr>
          <c:marker>
            <c:symbol val="none"/>
          </c:marker>
          <c:xVal>
            <c:numRef>
              <c:f>'Chlorophyll a and b Absorpt (2)'!$K$2:$K$103</c:f>
              <c:numCache>
                <c:formatCode>General</c:formatCode>
                <c:ptCount val="102"/>
                <c:pt idx="1">
                  <c:v>360</c:v>
                </c:pt>
                <c:pt idx="2">
                  <c:v>365</c:v>
                </c:pt>
                <c:pt idx="3">
                  <c:v>370</c:v>
                </c:pt>
                <c:pt idx="4">
                  <c:v>375</c:v>
                </c:pt>
                <c:pt idx="5">
                  <c:v>380</c:v>
                </c:pt>
                <c:pt idx="6">
                  <c:v>385</c:v>
                </c:pt>
                <c:pt idx="7">
                  <c:v>390</c:v>
                </c:pt>
                <c:pt idx="8">
                  <c:v>395</c:v>
                </c:pt>
                <c:pt idx="9">
                  <c:v>400</c:v>
                </c:pt>
                <c:pt idx="10">
                  <c:v>405</c:v>
                </c:pt>
                <c:pt idx="11">
                  <c:v>410</c:v>
                </c:pt>
                <c:pt idx="12">
                  <c:v>415</c:v>
                </c:pt>
                <c:pt idx="13">
                  <c:v>420</c:v>
                </c:pt>
                <c:pt idx="14">
                  <c:v>425</c:v>
                </c:pt>
                <c:pt idx="15">
                  <c:v>430</c:v>
                </c:pt>
                <c:pt idx="16">
                  <c:v>435</c:v>
                </c:pt>
                <c:pt idx="17">
                  <c:v>440</c:v>
                </c:pt>
                <c:pt idx="18">
                  <c:v>445</c:v>
                </c:pt>
                <c:pt idx="19">
                  <c:v>450</c:v>
                </c:pt>
                <c:pt idx="20">
                  <c:v>455</c:v>
                </c:pt>
                <c:pt idx="21">
                  <c:v>460</c:v>
                </c:pt>
                <c:pt idx="22">
                  <c:v>465</c:v>
                </c:pt>
                <c:pt idx="23">
                  <c:v>470</c:v>
                </c:pt>
                <c:pt idx="24">
                  <c:v>475</c:v>
                </c:pt>
                <c:pt idx="25">
                  <c:v>480</c:v>
                </c:pt>
                <c:pt idx="26">
                  <c:v>485</c:v>
                </c:pt>
                <c:pt idx="27">
                  <c:v>490</c:v>
                </c:pt>
                <c:pt idx="28">
                  <c:v>495</c:v>
                </c:pt>
                <c:pt idx="29">
                  <c:v>500</c:v>
                </c:pt>
                <c:pt idx="30">
                  <c:v>505</c:v>
                </c:pt>
                <c:pt idx="31">
                  <c:v>510</c:v>
                </c:pt>
                <c:pt idx="32">
                  <c:v>515</c:v>
                </c:pt>
                <c:pt idx="33">
                  <c:v>520</c:v>
                </c:pt>
                <c:pt idx="34">
                  <c:v>525</c:v>
                </c:pt>
                <c:pt idx="35">
                  <c:v>530</c:v>
                </c:pt>
                <c:pt idx="36">
                  <c:v>535</c:v>
                </c:pt>
                <c:pt idx="37">
                  <c:v>540</c:v>
                </c:pt>
                <c:pt idx="38">
                  <c:v>545</c:v>
                </c:pt>
                <c:pt idx="39">
                  <c:v>550</c:v>
                </c:pt>
                <c:pt idx="40">
                  <c:v>555</c:v>
                </c:pt>
                <c:pt idx="41">
                  <c:v>560</c:v>
                </c:pt>
                <c:pt idx="42">
                  <c:v>565</c:v>
                </c:pt>
                <c:pt idx="43">
                  <c:v>570</c:v>
                </c:pt>
                <c:pt idx="44">
                  <c:v>575</c:v>
                </c:pt>
                <c:pt idx="45">
                  <c:v>580</c:v>
                </c:pt>
                <c:pt idx="46">
                  <c:v>585</c:v>
                </c:pt>
                <c:pt idx="47">
                  <c:v>590</c:v>
                </c:pt>
                <c:pt idx="48">
                  <c:v>595</c:v>
                </c:pt>
                <c:pt idx="49">
                  <c:v>600</c:v>
                </c:pt>
                <c:pt idx="50">
                  <c:v>605</c:v>
                </c:pt>
                <c:pt idx="51">
                  <c:v>610</c:v>
                </c:pt>
                <c:pt idx="52">
                  <c:v>615</c:v>
                </c:pt>
                <c:pt idx="53">
                  <c:v>620</c:v>
                </c:pt>
                <c:pt idx="54">
                  <c:v>625</c:v>
                </c:pt>
                <c:pt idx="55">
                  <c:v>630</c:v>
                </c:pt>
                <c:pt idx="56">
                  <c:v>635</c:v>
                </c:pt>
                <c:pt idx="57">
                  <c:v>640</c:v>
                </c:pt>
                <c:pt idx="58">
                  <c:v>645</c:v>
                </c:pt>
                <c:pt idx="59">
                  <c:v>650</c:v>
                </c:pt>
                <c:pt idx="60">
                  <c:v>655</c:v>
                </c:pt>
                <c:pt idx="61">
                  <c:v>660</c:v>
                </c:pt>
                <c:pt idx="62">
                  <c:v>665</c:v>
                </c:pt>
                <c:pt idx="63">
                  <c:v>670</c:v>
                </c:pt>
                <c:pt idx="64">
                  <c:v>675</c:v>
                </c:pt>
                <c:pt idx="65">
                  <c:v>680</c:v>
                </c:pt>
                <c:pt idx="66">
                  <c:v>685</c:v>
                </c:pt>
                <c:pt idx="67">
                  <c:v>690</c:v>
                </c:pt>
                <c:pt idx="68">
                  <c:v>695</c:v>
                </c:pt>
                <c:pt idx="69">
                  <c:v>700</c:v>
                </c:pt>
                <c:pt idx="70">
                  <c:v>705</c:v>
                </c:pt>
                <c:pt idx="71">
                  <c:v>710</c:v>
                </c:pt>
                <c:pt idx="72">
                  <c:v>715</c:v>
                </c:pt>
                <c:pt idx="73">
                  <c:v>720</c:v>
                </c:pt>
                <c:pt idx="74">
                  <c:v>725</c:v>
                </c:pt>
                <c:pt idx="75">
                  <c:v>730</c:v>
                </c:pt>
                <c:pt idx="76">
                  <c:v>735</c:v>
                </c:pt>
                <c:pt idx="77">
                  <c:v>740</c:v>
                </c:pt>
                <c:pt idx="78">
                  <c:v>745</c:v>
                </c:pt>
                <c:pt idx="79">
                  <c:v>750</c:v>
                </c:pt>
                <c:pt idx="80">
                  <c:v>755</c:v>
                </c:pt>
                <c:pt idx="81">
                  <c:v>760</c:v>
                </c:pt>
                <c:pt idx="82">
                  <c:v>765</c:v>
                </c:pt>
                <c:pt idx="83">
                  <c:v>770</c:v>
                </c:pt>
                <c:pt idx="84">
                  <c:v>775</c:v>
                </c:pt>
                <c:pt idx="85">
                  <c:v>780</c:v>
                </c:pt>
                <c:pt idx="86">
                  <c:v>785</c:v>
                </c:pt>
                <c:pt idx="87">
                  <c:v>790</c:v>
                </c:pt>
                <c:pt idx="88">
                  <c:v>795</c:v>
                </c:pt>
                <c:pt idx="89">
                  <c:v>800</c:v>
                </c:pt>
                <c:pt idx="90">
                  <c:v>805</c:v>
                </c:pt>
                <c:pt idx="91">
                  <c:v>810</c:v>
                </c:pt>
                <c:pt idx="92">
                  <c:v>815</c:v>
                </c:pt>
                <c:pt idx="93">
                  <c:v>820</c:v>
                </c:pt>
                <c:pt idx="94">
                  <c:v>825</c:v>
                </c:pt>
                <c:pt idx="95">
                  <c:v>830</c:v>
                </c:pt>
                <c:pt idx="96">
                  <c:v>835</c:v>
                </c:pt>
                <c:pt idx="97">
                  <c:v>840</c:v>
                </c:pt>
                <c:pt idx="98">
                  <c:v>845</c:v>
                </c:pt>
                <c:pt idx="99">
                  <c:v>850</c:v>
                </c:pt>
                <c:pt idx="100">
                  <c:v>855</c:v>
                </c:pt>
                <c:pt idx="101">
                  <c:v>860</c:v>
                </c:pt>
              </c:numCache>
            </c:numRef>
          </c:xVal>
          <c:yVal>
            <c:numRef>
              <c:f>'Chlorophyll a and b Absorpt (2)'!$R$2:$R$103</c:f>
              <c:numCache>
                <c:formatCode>General</c:formatCode>
                <c:ptCount val="102"/>
                <c:pt idx="1">
                  <c:v>0.19426765082748151</c:v>
                </c:pt>
                <c:pt idx="2">
                  <c:v>0.21221212179859042</c:v>
                </c:pt>
                <c:pt idx="3">
                  <c:v>0.22527137622893967</c:v>
                </c:pt>
                <c:pt idx="4">
                  <c:v>0.230910966408052</c:v>
                </c:pt>
                <c:pt idx="5">
                  <c:v>0.23079486253401599</c:v>
                </c:pt>
                <c:pt idx="6">
                  <c:v>0.22463025654034038</c:v>
                </c:pt>
                <c:pt idx="7">
                  <c:v>0.20678510724535901</c:v>
                </c:pt>
                <c:pt idx="8">
                  <c:v>0.17913986050733363</c:v>
                </c:pt>
                <c:pt idx="9">
                  <c:v>0.12708682795109988</c:v>
                </c:pt>
                <c:pt idx="10">
                  <c:v>9.7557224571994228E-2</c:v>
                </c:pt>
                <c:pt idx="11">
                  <c:v>7.5387899252935944E-2</c:v>
                </c:pt>
                <c:pt idx="12">
                  <c:v>6.2608073327956995E-2</c:v>
                </c:pt>
                <c:pt idx="13">
                  <c:v>5.0948183842524197E-2</c:v>
                </c:pt>
                <c:pt idx="14">
                  <c:v>4.2564135325488903E-2</c:v>
                </c:pt>
                <c:pt idx="15">
                  <c:v>3.5073931371416227E-2</c:v>
                </c:pt>
                <c:pt idx="16">
                  <c:v>2.8224684439290621E-2</c:v>
                </c:pt>
                <c:pt idx="17">
                  <c:v>2.2577735020346018E-2</c:v>
                </c:pt>
                <c:pt idx="18">
                  <c:v>1.820107278986817E-2</c:v>
                </c:pt>
                <c:pt idx="19">
                  <c:v>1.3263799324151501E-2</c:v>
                </c:pt>
                <c:pt idx="20">
                  <c:v>9.7090349360530511E-3</c:v>
                </c:pt>
                <c:pt idx="21">
                  <c:v>8.00497945660247E-3</c:v>
                </c:pt>
                <c:pt idx="22">
                  <c:v>3.8988219328291002E-3</c:v>
                </c:pt>
                <c:pt idx="23">
                  <c:v>3.0118834978741498E-3</c:v>
                </c:pt>
                <c:pt idx="24">
                  <c:v>2.2788125838132467E-3</c:v>
                </c:pt>
                <c:pt idx="25">
                  <c:v>1.6863900644107296E-3</c:v>
                </c:pt>
                <c:pt idx="26">
                  <c:v>1.2213968134308899E-3</c:v>
                </c:pt>
                <c:pt idx="27">
                  <c:v>8.7061370463808227E-4</c:v>
                </c:pt>
                <c:pt idx="28">
                  <c:v>6.2082161179662814E-4</c:v>
                </c:pt>
                <c:pt idx="29">
                  <c:v>4.5880140867085199E-4</c:v>
                </c:pt>
                <c:pt idx="30">
                  <c:v>3.7133396902508446E-4</c:v>
                </c:pt>
                <c:pt idx="31">
                  <c:v>3.4520032498626412E-4</c:v>
                </c:pt>
                <c:pt idx="32">
                  <c:v>3.6157767193159633E-4</c:v>
                </c:pt>
                <c:pt idx="33">
                  <c:v>9.7991715299172505E-4</c:v>
                </c:pt>
                <c:pt idx="34">
                  <c:v>4.5318275033533638E-3</c:v>
                </c:pt>
                <c:pt idx="35">
                  <c:v>5.1260202359503524E-3</c:v>
                </c:pt>
                <c:pt idx="36">
                  <c:v>8.2315171015822398E-3</c:v>
                </c:pt>
                <c:pt idx="37">
                  <c:v>1.1046727947412557E-2</c:v>
                </c:pt>
                <c:pt idx="38">
                  <c:v>1.3861938761946401E-2</c:v>
                </c:pt>
                <c:pt idx="39">
                  <c:v>1.6597625608764547E-2</c:v>
                </c:pt>
                <c:pt idx="40">
                  <c:v>2.163163731582006E-2</c:v>
                </c:pt>
                <c:pt idx="41">
                  <c:v>2.4861429594262078E-2</c:v>
                </c:pt>
                <c:pt idx="42">
                  <c:v>2.9107478865232798E-2</c:v>
                </c:pt>
                <c:pt idx="43">
                  <c:v>3.4432070367030498E-2</c:v>
                </c:pt>
                <c:pt idx="44">
                  <c:v>3.9166535608933503E-2</c:v>
                </c:pt>
                <c:pt idx="45">
                  <c:v>4.4813377090029291E-2</c:v>
                </c:pt>
                <c:pt idx="46">
                  <c:v>5.1512873009247104E-2</c:v>
                </c:pt>
                <c:pt idx="47">
                  <c:v>5.7720340071962299E-2</c:v>
                </c:pt>
                <c:pt idx="48">
                  <c:v>6.4770269942709888E-2</c:v>
                </c:pt>
                <c:pt idx="49">
                  <c:v>7.2115372286747498E-2</c:v>
                </c:pt>
                <c:pt idx="50">
                  <c:v>7.984130985907742E-2</c:v>
                </c:pt>
                <c:pt idx="51">
                  <c:v>8.6891527165012764E-2</c:v>
                </c:pt>
                <c:pt idx="52">
                  <c:v>9.6390267273254504E-2</c:v>
                </c:pt>
                <c:pt idx="53">
                  <c:v>0.10460397195028545</c:v>
                </c:pt>
                <c:pt idx="54">
                  <c:v>0.11542292061866602</c:v>
                </c:pt>
                <c:pt idx="55">
                  <c:v>0.12862118075951287</c:v>
                </c:pt>
                <c:pt idx="56">
                  <c:v>0.14350790066501201</c:v>
                </c:pt>
                <c:pt idx="57">
                  <c:v>0.15952134624867001</c:v>
                </c:pt>
                <c:pt idx="58">
                  <c:v>0.18205714387441851</c:v>
                </c:pt>
                <c:pt idx="59">
                  <c:v>0.21156989545377838</c:v>
                </c:pt>
                <c:pt idx="60">
                  <c:v>0.24152373623558687</c:v>
                </c:pt>
                <c:pt idx="61">
                  <c:v>0.27201932578242038</c:v>
                </c:pt>
                <c:pt idx="62">
                  <c:v>0.29888220946503902</c:v>
                </c:pt>
                <c:pt idx="63">
                  <c:v>0.31204568429790225</c:v>
                </c:pt>
                <c:pt idx="64">
                  <c:v>0.31508983856449901</c:v>
                </c:pt>
                <c:pt idx="65">
                  <c:v>0.31417685613011498</c:v>
                </c:pt>
                <c:pt idx="66">
                  <c:v>0.31469723951950701</c:v>
                </c:pt>
                <c:pt idx="67">
                  <c:v>0.31810220051697102</c:v>
                </c:pt>
                <c:pt idx="68">
                  <c:v>0.33213195794078032</c:v>
                </c:pt>
                <c:pt idx="69">
                  <c:v>0.35240117618609701</c:v>
                </c:pt>
                <c:pt idx="70">
                  <c:v>0.37142221966723338</c:v>
                </c:pt>
                <c:pt idx="71">
                  <c:v>0.39583500752916689</c:v>
                </c:pt>
                <c:pt idx="72">
                  <c:v>0.41596061338213214</c:v>
                </c:pt>
                <c:pt idx="73">
                  <c:v>0.43408697349408998</c:v>
                </c:pt>
                <c:pt idx="74">
                  <c:v>0.4508482798864929</c:v>
                </c:pt>
                <c:pt idx="75">
                  <c:v>0.45974285210270599</c:v>
                </c:pt>
                <c:pt idx="76">
                  <c:v>0.44441513613843076</c:v>
                </c:pt>
                <c:pt idx="77">
                  <c:v>0.35618171927585479</c:v>
                </c:pt>
                <c:pt idx="78">
                  <c:v>0.25069312828936574</c:v>
                </c:pt>
                <c:pt idx="79">
                  <c:v>0.18454461110918999</c:v>
                </c:pt>
                <c:pt idx="80">
                  <c:v>0.14987941150114548</c:v>
                </c:pt>
                <c:pt idx="81">
                  <c:v>0.12065504550672219</c:v>
                </c:pt>
                <c:pt idx="82">
                  <c:v>0.10121371708825529</c:v>
                </c:pt>
                <c:pt idx="83">
                  <c:v>8.4987065484664198E-2</c:v>
                </c:pt>
                <c:pt idx="84">
                  <c:v>6.9712238194783338E-2</c:v>
                </c:pt>
                <c:pt idx="85">
                  <c:v>5.9192294111667376E-2</c:v>
                </c:pt>
                <c:pt idx="86">
                  <c:v>4.8311513523059096E-2</c:v>
                </c:pt>
                <c:pt idx="87">
                  <c:v>3.9500672104384897E-2</c:v>
                </c:pt>
                <c:pt idx="88">
                  <c:v>3.1432649724099239E-2</c:v>
                </c:pt>
                <c:pt idx="89">
                  <c:v>2.5347754437470602E-2</c:v>
                </c:pt>
                <c:pt idx="90">
                  <c:v>1.93092473256238E-2</c:v>
                </c:pt>
                <c:pt idx="91">
                  <c:v>1.3903574603274654E-2</c:v>
                </c:pt>
                <c:pt idx="92">
                  <c:v>1.1019233671339694E-2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4-D853-4C07-A3F9-D422ED7C3890}"/>
            </c:ext>
          </c:extLst>
        </c:ser>
        <c:ser>
          <c:idx val="3"/>
          <c:order val="5"/>
          <c:tx>
            <c:strRef>
              <c:f>'Chlorophyll a and b Absorpt (2)'!$O$1</c:f>
              <c:strCache>
                <c:ptCount val="1"/>
                <c:pt idx="0">
                  <c:v>Deep Blue 450nm</c:v>
                </c:pt>
              </c:strCache>
            </c:strRef>
          </c:tx>
          <c:spPr>
            <a:ln w="38100">
              <a:solidFill>
                <a:srgbClr val="0070C0"/>
              </a:solidFill>
            </a:ln>
          </c:spPr>
          <c:marker>
            <c:symbol val="none"/>
          </c:marker>
          <c:xVal>
            <c:numRef>
              <c:f>'Chlorophyll a and b Absorpt (2)'!$K$2:$K$103</c:f>
              <c:numCache>
                <c:formatCode>General</c:formatCode>
                <c:ptCount val="102"/>
                <c:pt idx="1">
                  <c:v>360</c:v>
                </c:pt>
                <c:pt idx="2">
                  <c:v>365</c:v>
                </c:pt>
                <c:pt idx="3">
                  <c:v>370</c:v>
                </c:pt>
                <c:pt idx="4">
                  <c:v>375</c:v>
                </c:pt>
                <c:pt idx="5">
                  <c:v>380</c:v>
                </c:pt>
                <c:pt idx="6">
                  <c:v>385</c:v>
                </c:pt>
                <c:pt idx="7">
                  <c:v>390</c:v>
                </c:pt>
                <c:pt idx="8">
                  <c:v>395</c:v>
                </c:pt>
                <c:pt idx="9">
                  <c:v>400</c:v>
                </c:pt>
                <c:pt idx="10">
                  <c:v>405</c:v>
                </c:pt>
                <c:pt idx="11">
                  <c:v>410</c:v>
                </c:pt>
                <c:pt idx="12">
                  <c:v>415</c:v>
                </c:pt>
                <c:pt idx="13">
                  <c:v>420</c:v>
                </c:pt>
                <c:pt idx="14">
                  <c:v>425</c:v>
                </c:pt>
                <c:pt idx="15">
                  <c:v>430</c:v>
                </c:pt>
                <c:pt idx="16">
                  <c:v>435</c:v>
                </c:pt>
                <c:pt idx="17">
                  <c:v>440</c:v>
                </c:pt>
                <c:pt idx="18">
                  <c:v>445</c:v>
                </c:pt>
                <c:pt idx="19">
                  <c:v>450</c:v>
                </c:pt>
                <c:pt idx="20">
                  <c:v>455</c:v>
                </c:pt>
                <c:pt idx="21">
                  <c:v>460</c:v>
                </c:pt>
                <c:pt idx="22">
                  <c:v>465</c:v>
                </c:pt>
                <c:pt idx="23">
                  <c:v>470</c:v>
                </c:pt>
                <c:pt idx="24">
                  <c:v>475</c:v>
                </c:pt>
                <c:pt idx="25">
                  <c:v>480</c:v>
                </c:pt>
                <c:pt idx="26">
                  <c:v>485</c:v>
                </c:pt>
                <c:pt idx="27">
                  <c:v>490</c:v>
                </c:pt>
                <c:pt idx="28">
                  <c:v>495</c:v>
                </c:pt>
                <c:pt idx="29">
                  <c:v>500</c:v>
                </c:pt>
                <c:pt idx="30">
                  <c:v>505</c:v>
                </c:pt>
                <c:pt idx="31">
                  <c:v>510</c:v>
                </c:pt>
                <c:pt idx="32">
                  <c:v>515</c:v>
                </c:pt>
                <c:pt idx="33">
                  <c:v>520</c:v>
                </c:pt>
                <c:pt idx="34">
                  <c:v>525</c:v>
                </c:pt>
                <c:pt idx="35">
                  <c:v>530</c:v>
                </c:pt>
                <c:pt idx="36">
                  <c:v>535</c:v>
                </c:pt>
                <c:pt idx="37">
                  <c:v>540</c:v>
                </c:pt>
                <c:pt idx="38">
                  <c:v>545</c:v>
                </c:pt>
                <c:pt idx="39">
                  <c:v>550</c:v>
                </c:pt>
                <c:pt idx="40">
                  <c:v>555</c:v>
                </c:pt>
                <c:pt idx="41">
                  <c:v>560</c:v>
                </c:pt>
                <c:pt idx="42">
                  <c:v>565</c:v>
                </c:pt>
                <c:pt idx="43">
                  <c:v>570</c:v>
                </c:pt>
                <c:pt idx="44">
                  <c:v>575</c:v>
                </c:pt>
                <c:pt idx="45">
                  <c:v>580</c:v>
                </c:pt>
                <c:pt idx="46">
                  <c:v>585</c:v>
                </c:pt>
                <c:pt idx="47">
                  <c:v>590</c:v>
                </c:pt>
                <c:pt idx="48">
                  <c:v>595</c:v>
                </c:pt>
                <c:pt idx="49">
                  <c:v>600</c:v>
                </c:pt>
                <c:pt idx="50">
                  <c:v>605</c:v>
                </c:pt>
                <c:pt idx="51">
                  <c:v>610</c:v>
                </c:pt>
                <c:pt idx="52">
                  <c:v>615</c:v>
                </c:pt>
                <c:pt idx="53">
                  <c:v>620</c:v>
                </c:pt>
                <c:pt idx="54">
                  <c:v>625</c:v>
                </c:pt>
                <c:pt idx="55">
                  <c:v>630</c:v>
                </c:pt>
                <c:pt idx="56">
                  <c:v>635</c:v>
                </c:pt>
                <c:pt idx="57">
                  <c:v>640</c:v>
                </c:pt>
                <c:pt idx="58">
                  <c:v>645</c:v>
                </c:pt>
                <c:pt idx="59">
                  <c:v>650</c:v>
                </c:pt>
                <c:pt idx="60">
                  <c:v>655</c:v>
                </c:pt>
                <c:pt idx="61">
                  <c:v>660</c:v>
                </c:pt>
                <c:pt idx="62">
                  <c:v>665</c:v>
                </c:pt>
                <c:pt idx="63">
                  <c:v>670</c:v>
                </c:pt>
                <c:pt idx="64">
                  <c:v>675</c:v>
                </c:pt>
                <c:pt idx="65">
                  <c:v>680</c:v>
                </c:pt>
                <c:pt idx="66">
                  <c:v>685</c:v>
                </c:pt>
                <c:pt idx="67">
                  <c:v>690</c:v>
                </c:pt>
                <c:pt idx="68">
                  <c:v>695</c:v>
                </c:pt>
                <c:pt idx="69">
                  <c:v>700</c:v>
                </c:pt>
                <c:pt idx="70">
                  <c:v>705</c:v>
                </c:pt>
                <c:pt idx="71">
                  <c:v>710</c:v>
                </c:pt>
                <c:pt idx="72">
                  <c:v>715</c:v>
                </c:pt>
                <c:pt idx="73">
                  <c:v>720</c:v>
                </c:pt>
                <c:pt idx="74">
                  <c:v>725</c:v>
                </c:pt>
                <c:pt idx="75">
                  <c:v>730</c:v>
                </c:pt>
                <c:pt idx="76">
                  <c:v>735</c:v>
                </c:pt>
                <c:pt idx="77">
                  <c:v>740</c:v>
                </c:pt>
                <c:pt idx="78">
                  <c:v>745</c:v>
                </c:pt>
                <c:pt idx="79">
                  <c:v>750</c:v>
                </c:pt>
                <c:pt idx="80">
                  <c:v>755</c:v>
                </c:pt>
                <c:pt idx="81">
                  <c:v>760</c:v>
                </c:pt>
                <c:pt idx="82">
                  <c:v>765</c:v>
                </c:pt>
                <c:pt idx="83">
                  <c:v>770</c:v>
                </c:pt>
                <c:pt idx="84">
                  <c:v>775</c:v>
                </c:pt>
                <c:pt idx="85">
                  <c:v>780</c:v>
                </c:pt>
                <c:pt idx="86">
                  <c:v>785</c:v>
                </c:pt>
                <c:pt idx="87">
                  <c:v>790</c:v>
                </c:pt>
                <c:pt idx="88">
                  <c:v>795</c:v>
                </c:pt>
                <c:pt idx="89">
                  <c:v>800</c:v>
                </c:pt>
                <c:pt idx="90">
                  <c:v>805</c:v>
                </c:pt>
                <c:pt idx="91">
                  <c:v>810</c:v>
                </c:pt>
                <c:pt idx="92">
                  <c:v>815</c:v>
                </c:pt>
                <c:pt idx="93">
                  <c:v>820</c:v>
                </c:pt>
                <c:pt idx="94">
                  <c:v>825</c:v>
                </c:pt>
                <c:pt idx="95">
                  <c:v>830</c:v>
                </c:pt>
                <c:pt idx="96">
                  <c:v>835</c:v>
                </c:pt>
                <c:pt idx="97">
                  <c:v>840</c:v>
                </c:pt>
                <c:pt idx="98">
                  <c:v>845</c:v>
                </c:pt>
                <c:pt idx="99">
                  <c:v>850</c:v>
                </c:pt>
                <c:pt idx="100">
                  <c:v>855</c:v>
                </c:pt>
                <c:pt idx="101">
                  <c:v>860</c:v>
                </c:pt>
              </c:numCache>
            </c:numRef>
          </c:xVal>
          <c:yVal>
            <c:numRef>
              <c:f>'Chlorophyll a and b Absorpt (2)'!$O$2:$O$103</c:f>
              <c:numCache>
                <c:formatCode>General</c:formatCode>
                <c:ptCount val="102"/>
                <c:pt idx="1">
                  <c:v>8.5282000000000001E-4</c:v>
                </c:pt>
                <c:pt idx="2">
                  <c:v>1.7551600000000021E-3</c:v>
                </c:pt>
                <c:pt idx="3">
                  <c:v>1.11502E-3</c:v>
                </c:pt>
                <c:pt idx="4">
                  <c:v>1.7067800000000021E-3</c:v>
                </c:pt>
                <c:pt idx="5">
                  <c:v>1.613230000000003E-3</c:v>
                </c:pt>
                <c:pt idx="6">
                  <c:v>2.9062100000000002E-3</c:v>
                </c:pt>
                <c:pt idx="7">
                  <c:v>4.7474800000000001E-3</c:v>
                </c:pt>
                <c:pt idx="8">
                  <c:v>6.2796100000000275E-3</c:v>
                </c:pt>
                <c:pt idx="9">
                  <c:v>8.4326500000000068E-3</c:v>
                </c:pt>
                <c:pt idx="10">
                  <c:v>1.1241840000000001E-2</c:v>
                </c:pt>
                <c:pt idx="11">
                  <c:v>1.508399E-2</c:v>
                </c:pt>
                <c:pt idx="12">
                  <c:v>2.1213599999999999E-2</c:v>
                </c:pt>
                <c:pt idx="13">
                  <c:v>3.9715399999999998E-2</c:v>
                </c:pt>
                <c:pt idx="14">
                  <c:v>9.1841960000000028E-2</c:v>
                </c:pt>
                <c:pt idx="15">
                  <c:v>0.21368864000000001</c:v>
                </c:pt>
                <c:pt idx="16">
                  <c:v>0.44916704999999996</c:v>
                </c:pt>
                <c:pt idx="17">
                  <c:v>0.78853941999999999</c:v>
                </c:pt>
                <c:pt idx="18">
                  <c:v>1</c:v>
                </c:pt>
                <c:pt idx="19">
                  <c:v>0.77981921000000276</c:v>
                </c:pt>
                <c:pt idx="20">
                  <c:v>0.4389768700000018</c:v>
                </c:pt>
                <c:pt idx="21">
                  <c:v>0.25894151999999998</c:v>
                </c:pt>
                <c:pt idx="22">
                  <c:v>0.15096602000000048</c:v>
                </c:pt>
                <c:pt idx="23">
                  <c:v>8.0873130000000015E-2</c:v>
                </c:pt>
                <c:pt idx="24">
                  <c:v>4.5888030000000024E-2</c:v>
                </c:pt>
                <c:pt idx="25">
                  <c:v>2.7866370000000085E-2</c:v>
                </c:pt>
                <c:pt idx="26">
                  <c:v>1.549438E-2</c:v>
                </c:pt>
                <c:pt idx="27">
                  <c:v>9.8257500000000358E-3</c:v>
                </c:pt>
                <c:pt idx="28">
                  <c:v>5.9202100000000134E-3</c:v>
                </c:pt>
                <c:pt idx="29">
                  <c:v>3.9250800000000096E-3</c:v>
                </c:pt>
                <c:pt idx="30">
                  <c:v>2.3598899999999977E-3</c:v>
                </c:pt>
                <c:pt idx="31">
                  <c:v>2.0174300000000002E-3</c:v>
                </c:pt>
                <c:pt idx="32">
                  <c:v>1.220870000000003E-3</c:v>
                </c:pt>
                <c:pt idx="33">
                  <c:v>1.1852600000000033E-3</c:v>
                </c:pt>
                <c:pt idx="34">
                  <c:v>7.0899000000000244E-4</c:v>
                </c:pt>
                <c:pt idx="35">
                  <c:v>6.8312000000000331E-4</c:v>
                </c:pt>
                <c:pt idx="36">
                  <c:v>3.5142000000000056E-4</c:v>
                </c:pt>
                <c:pt idx="37">
                  <c:v>3.6946000000000103E-4</c:v>
                </c:pt>
                <c:pt idx="38">
                  <c:v>6.3333000000000226E-4</c:v>
                </c:pt>
                <c:pt idx="39">
                  <c:v>7.514300000000015E-4</c:v>
                </c:pt>
                <c:pt idx="40">
                  <c:v>1.8857000000000053E-4</c:v>
                </c:pt>
                <c:pt idx="41">
                  <c:v>7.1964000000000175E-4</c:v>
                </c:pt>
                <c:pt idx="42">
                  <c:v>2.3972000000000012E-4</c:v>
                </c:pt>
                <c:pt idx="43">
                  <c:v>4.6534000000000012E-4</c:v>
                </c:pt>
                <c:pt idx="44">
                  <c:v>1.6481000000000075E-4</c:v>
                </c:pt>
                <c:pt idx="45">
                  <c:v>6.1280000000000004E-4</c:v>
                </c:pt>
                <c:pt idx="46">
                  <c:v>5.1394000000000179E-4</c:v>
                </c:pt>
                <c:pt idx="47">
                  <c:v>5.1358000000000013E-4</c:v>
                </c:pt>
                <c:pt idx="48">
                  <c:v>1.5910000000000063E-5</c:v>
                </c:pt>
                <c:pt idx="49">
                  <c:v>3.8746000000000012E-4</c:v>
                </c:pt>
                <c:pt idx="50">
                  <c:v>1.6298000000000045E-4</c:v>
                </c:pt>
                <c:pt idx="51">
                  <c:v>2.3639000000000087E-4</c:v>
                </c:pt>
                <c:pt idx="52">
                  <c:v>-7.8840000000000214E-5</c:v>
                </c:pt>
                <c:pt idx="53">
                  <c:v>3.8280000000000162E-5</c:v>
                </c:pt>
                <c:pt idx="54">
                  <c:v>1.6783000000000073E-4</c:v>
                </c:pt>
                <c:pt idx="55">
                  <c:v>1.4074000000000001E-4</c:v>
                </c:pt>
                <c:pt idx="56">
                  <c:v>3.3282000000000016E-4</c:v>
                </c:pt>
                <c:pt idx="57">
                  <c:v>1.3780000000000076E-5</c:v>
                </c:pt>
                <c:pt idx="58">
                  <c:v>1.2599E-4</c:v>
                </c:pt>
                <c:pt idx="59">
                  <c:v>-1.5589000000000046E-4</c:v>
                </c:pt>
                <c:pt idx="60">
                  <c:v>5.7266000000000207E-4</c:v>
                </c:pt>
                <c:pt idx="61">
                  <c:v>1.9317000000000065E-4</c:v>
                </c:pt>
                <c:pt idx="62">
                  <c:v>4.7352000000000234E-4</c:v>
                </c:pt>
                <c:pt idx="63">
                  <c:v>1.9715000000000073E-4</c:v>
                </c:pt>
                <c:pt idx="64">
                  <c:v>5.3557000000000084E-4</c:v>
                </c:pt>
                <c:pt idx="65">
                  <c:v>-3.5050000000000113E-5</c:v>
                </c:pt>
                <c:pt idx="66">
                  <c:v>4.6562000000000128E-4</c:v>
                </c:pt>
                <c:pt idx="67">
                  <c:v>-2.4407000000000099E-4</c:v>
                </c:pt>
                <c:pt idx="68">
                  <c:v>1.3030000000000045E-5</c:v>
                </c:pt>
                <c:pt idx="69">
                  <c:v>-4.4221000000000012E-4</c:v>
                </c:pt>
                <c:pt idx="70">
                  <c:v>1.5570000000000045E-4</c:v>
                </c:pt>
                <c:pt idx="71">
                  <c:v>8.5000000000000291E-5</c:v>
                </c:pt>
                <c:pt idx="72">
                  <c:v>7.1290000000000193E-5</c:v>
                </c:pt>
                <c:pt idx="73">
                  <c:v>-2.2920000000000065E-5</c:v>
                </c:pt>
                <c:pt idx="74">
                  <c:v>4.6959999999999998E-4</c:v>
                </c:pt>
                <c:pt idx="75">
                  <c:v>4.9800000000000248E-5</c:v>
                </c:pt>
                <c:pt idx="76">
                  <c:v>-1.0119E-4</c:v>
                </c:pt>
                <c:pt idx="77">
                  <c:v>-2.8369000000000002E-4</c:v>
                </c:pt>
                <c:pt idx="78">
                  <c:v>-4.7420000000000166E-5</c:v>
                </c:pt>
                <c:pt idx="79">
                  <c:v>1.7797000000000003E-4</c:v>
                </c:pt>
                <c:pt idx="80">
                  <c:v>3.1906000000000089E-4</c:v>
                </c:pt>
                <c:pt idx="81">
                  <c:v>-1.0933999999999999E-4</c:v>
                </c:pt>
                <c:pt idx="82">
                  <c:v>-4.5180000000000133E-5</c:v>
                </c:pt>
                <c:pt idx="83">
                  <c:v>-2.3125000000000001E-4</c:v>
                </c:pt>
                <c:pt idx="84">
                  <c:v>-2.6160000000000051E-5</c:v>
                </c:pt>
                <c:pt idx="85">
                  <c:v>2.6127000000000002E-4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5-D853-4C07-A3F9-D422ED7C3890}"/>
            </c:ext>
          </c:extLst>
        </c:ser>
        <c:ser>
          <c:idx val="4"/>
          <c:order val="6"/>
          <c:tx>
            <c:strRef>
              <c:f>'Chlorophyll a and b Absorpt (2)'!$P$1</c:f>
              <c:strCache>
                <c:ptCount val="1"/>
                <c:pt idx="0">
                  <c:v>Hyper Red 660nm</c:v>
                </c:pt>
              </c:strCache>
            </c:strRef>
          </c:tx>
          <c:spPr>
            <a:ln w="38100">
              <a:solidFill>
                <a:srgbClr val="FF0000"/>
              </a:solidFill>
            </a:ln>
          </c:spPr>
          <c:marker>
            <c:symbol val="none"/>
          </c:marker>
          <c:xVal>
            <c:numRef>
              <c:f>'Chlorophyll a and b Absorpt (2)'!$K$2:$K$103</c:f>
              <c:numCache>
                <c:formatCode>General</c:formatCode>
                <c:ptCount val="102"/>
                <c:pt idx="1">
                  <c:v>360</c:v>
                </c:pt>
                <c:pt idx="2">
                  <c:v>365</c:v>
                </c:pt>
                <c:pt idx="3">
                  <c:v>370</c:v>
                </c:pt>
                <c:pt idx="4">
                  <c:v>375</c:v>
                </c:pt>
                <c:pt idx="5">
                  <c:v>380</c:v>
                </c:pt>
                <c:pt idx="6">
                  <c:v>385</c:v>
                </c:pt>
                <c:pt idx="7">
                  <c:v>390</c:v>
                </c:pt>
                <c:pt idx="8">
                  <c:v>395</c:v>
                </c:pt>
                <c:pt idx="9">
                  <c:v>400</c:v>
                </c:pt>
                <c:pt idx="10">
                  <c:v>405</c:v>
                </c:pt>
                <c:pt idx="11">
                  <c:v>410</c:v>
                </c:pt>
                <c:pt idx="12">
                  <c:v>415</c:v>
                </c:pt>
                <c:pt idx="13">
                  <c:v>420</c:v>
                </c:pt>
                <c:pt idx="14">
                  <c:v>425</c:v>
                </c:pt>
                <c:pt idx="15">
                  <c:v>430</c:v>
                </c:pt>
                <c:pt idx="16">
                  <c:v>435</c:v>
                </c:pt>
                <c:pt idx="17">
                  <c:v>440</c:v>
                </c:pt>
                <c:pt idx="18">
                  <c:v>445</c:v>
                </c:pt>
                <c:pt idx="19">
                  <c:v>450</c:v>
                </c:pt>
                <c:pt idx="20">
                  <c:v>455</c:v>
                </c:pt>
                <c:pt idx="21">
                  <c:v>460</c:v>
                </c:pt>
                <c:pt idx="22">
                  <c:v>465</c:v>
                </c:pt>
                <c:pt idx="23">
                  <c:v>470</c:v>
                </c:pt>
                <c:pt idx="24">
                  <c:v>475</c:v>
                </c:pt>
                <c:pt idx="25">
                  <c:v>480</c:v>
                </c:pt>
                <c:pt idx="26">
                  <c:v>485</c:v>
                </c:pt>
                <c:pt idx="27">
                  <c:v>490</c:v>
                </c:pt>
                <c:pt idx="28">
                  <c:v>495</c:v>
                </c:pt>
                <c:pt idx="29">
                  <c:v>500</c:v>
                </c:pt>
                <c:pt idx="30">
                  <c:v>505</c:v>
                </c:pt>
                <c:pt idx="31">
                  <c:v>510</c:v>
                </c:pt>
                <c:pt idx="32">
                  <c:v>515</c:v>
                </c:pt>
                <c:pt idx="33">
                  <c:v>520</c:v>
                </c:pt>
                <c:pt idx="34">
                  <c:v>525</c:v>
                </c:pt>
                <c:pt idx="35">
                  <c:v>530</c:v>
                </c:pt>
                <c:pt idx="36">
                  <c:v>535</c:v>
                </c:pt>
                <c:pt idx="37">
                  <c:v>540</c:v>
                </c:pt>
                <c:pt idx="38">
                  <c:v>545</c:v>
                </c:pt>
                <c:pt idx="39">
                  <c:v>550</c:v>
                </c:pt>
                <c:pt idx="40">
                  <c:v>555</c:v>
                </c:pt>
                <c:pt idx="41">
                  <c:v>560</c:v>
                </c:pt>
                <c:pt idx="42">
                  <c:v>565</c:v>
                </c:pt>
                <c:pt idx="43">
                  <c:v>570</c:v>
                </c:pt>
                <c:pt idx="44">
                  <c:v>575</c:v>
                </c:pt>
                <c:pt idx="45">
                  <c:v>580</c:v>
                </c:pt>
                <c:pt idx="46">
                  <c:v>585</c:v>
                </c:pt>
                <c:pt idx="47">
                  <c:v>590</c:v>
                </c:pt>
                <c:pt idx="48">
                  <c:v>595</c:v>
                </c:pt>
                <c:pt idx="49">
                  <c:v>600</c:v>
                </c:pt>
                <c:pt idx="50">
                  <c:v>605</c:v>
                </c:pt>
                <c:pt idx="51">
                  <c:v>610</c:v>
                </c:pt>
                <c:pt idx="52">
                  <c:v>615</c:v>
                </c:pt>
                <c:pt idx="53">
                  <c:v>620</c:v>
                </c:pt>
                <c:pt idx="54">
                  <c:v>625</c:v>
                </c:pt>
                <c:pt idx="55">
                  <c:v>630</c:v>
                </c:pt>
                <c:pt idx="56">
                  <c:v>635</c:v>
                </c:pt>
                <c:pt idx="57">
                  <c:v>640</c:v>
                </c:pt>
                <c:pt idx="58">
                  <c:v>645</c:v>
                </c:pt>
                <c:pt idx="59">
                  <c:v>650</c:v>
                </c:pt>
                <c:pt idx="60">
                  <c:v>655</c:v>
                </c:pt>
                <c:pt idx="61">
                  <c:v>660</c:v>
                </c:pt>
                <c:pt idx="62">
                  <c:v>665</c:v>
                </c:pt>
                <c:pt idx="63">
                  <c:v>670</c:v>
                </c:pt>
                <c:pt idx="64">
                  <c:v>675</c:v>
                </c:pt>
                <c:pt idx="65">
                  <c:v>680</c:v>
                </c:pt>
                <c:pt idx="66">
                  <c:v>685</c:v>
                </c:pt>
                <c:pt idx="67">
                  <c:v>690</c:v>
                </c:pt>
                <c:pt idx="68">
                  <c:v>695</c:v>
                </c:pt>
                <c:pt idx="69">
                  <c:v>700</c:v>
                </c:pt>
                <c:pt idx="70">
                  <c:v>705</c:v>
                </c:pt>
                <c:pt idx="71">
                  <c:v>710</c:v>
                </c:pt>
                <c:pt idx="72">
                  <c:v>715</c:v>
                </c:pt>
                <c:pt idx="73">
                  <c:v>720</c:v>
                </c:pt>
                <c:pt idx="74">
                  <c:v>725</c:v>
                </c:pt>
                <c:pt idx="75">
                  <c:v>730</c:v>
                </c:pt>
                <c:pt idx="76">
                  <c:v>735</c:v>
                </c:pt>
                <c:pt idx="77">
                  <c:v>740</c:v>
                </c:pt>
                <c:pt idx="78">
                  <c:v>745</c:v>
                </c:pt>
                <c:pt idx="79">
                  <c:v>750</c:v>
                </c:pt>
                <c:pt idx="80">
                  <c:v>755</c:v>
                </c:pt>
                <c:pt idx="81">
                  <c:v>760</c:v>
                </c:pt>
                <c:pt idx="82">
                  <c:v>765</c:v>
                </c:pt>
                <c:pt idx="83">
                  <c:v>770</c:v>
                </c:pt>
                <c:pt idx="84">
                  <c:v>775</c:v>
                </c:pt>
                <c:pt idx="85">
                  <c:v>780</c:v>
                </c:pt>
                <c:pt idx="86">
                  <c:v>785</c:v>
                </c:pt>
                <c:pt idx="87">
                  <c:v>790</c:v>
                </c:pt>
                <c:pt idx="88">
                  <c:v>795</c:v>
                </c:pt>
                <c:pt idx="89">
                  <c:v>800</c:v>
                </c:pt>
                <c:pt idx="90">
                  <c:v>805</c:v>
                </c:pt>
                <c:pt idx="91">
                  <c:v>810</c:v>
                </c:pt>
                <c:pt idx="92">
                  <c:v>815</c:v>
                </c:pt>
                <c:pt idx="93">
                  <c:v>820</c:v>
                </c:pt>
                <c:pt idx="94">
                  <c:v>825</c:v>
                </c:pt>
                <c:pt idx="95">
                  <c:v>830</c:v>
                </c:pt>
                <c:pt idx="96">
                  <c:v>835</c:v>
                </c:pt>
                <c:pt idx="97">
                  <c:v>840</c:v>
                </c:pt>
                <c:pt idx="98">
                  <c:v>845</c:v>
                </c:pt>
                <c:pt idx="99">
                  <c:v>850</c:v>
                </c:pt>
                <c:pt idx="100">
                  <c:v>855</c:v>
                </c:pt>
                <c:pt idx="101">
                  <c:v>860</c:v>
                </c:pt>
              </c:numCache>
            </c:numRef>
          </c:xVal>
          <c:yVal>
            <c:numRef>
              <c:f>'Chlorophyll a and b Absorpt (2)'!$P$2:$P$103</c:f>
              <c:numCache>
                <c:formatCode>General</c:formatCode>
                <c:ptCount val="102"/>
                <c:pt idx="1">
                  <c:v>5.0566000000000174E-4</c:v>
                </c:pt>
                <c:pt idx="2">
                  <c:v>6.1041000000000003E-4</c:v>
                </c:pt>
                <c:pt idx="3">
                  <c:v>4.8144000000000003E-4</c:v>
                </c:pt>
                <c:pt idx="4">
                  <c:v>4.8320000000000123E-4</c:v>
                </c:pt>
                <c:pt idx="5">
                  <c:v>4.2462000000000229E-4</c:v>
                </c:pt>
                <c:pt idx="6">
                  <c:v>5.0288000000000004E-4</c:v>
                </c:pt>
                <c:pt idx="7">
                  <c:v>4.1480000000000022E-4</c:v>
                </c:pt>
                <c:pt idx="8">
                  <c:v>3.3993000000000011E-4</c:v>
                </c:pt>
                <c:pt idx="9">
                  <c:v>2.7405000000000143E-4</c:v>
                </c:pt>
                <c:pt idx="10">
                  <c:v>2.9186000000000001E-4</c:v>
                </c:pt>
                <c:pt idx="11">
                  <c:v>3.7241000000000189E-4</c:v>
                </c:pt>
                <c:pt idx="12">
                  <c:v>2.4864E-4</c:v>
                </c:pt>
                <c:pt idx="13">
                  <c:v>3.6589000000000115E-4</c:v>
                </c:pt>
                <c:pt idx="14">
                  <c:v>2.2132000000000082E-4</c:v>
                </c:pt>
                <c:pt idx="15">
                  <c:v>3.2821000000000147E-4</c:v>
                </c:pt>
                <c:pt idx="16">
                  <c:v>2.8782999999999999E-4</c:v>
                </c:pt>
                <c:pt idx="17">
                  <c:v>2.6827000000000095E-4</c:v>
                </c:pt>
                <c:pt idx="18">
                  <c:v>2.5303000000000088E-4</c:v>
                </c:pt>
                <c:pt idx="19">
                  <c:v>2.4907000000000016E-4</c:v>
                </c:pt>
                <c:pt idx="20">
                  <c:v>2.4998000000000002E-4</c:v>
                </c:pt>
                <c:pt idx="21">
                  <c:v>1.8926000000000069E-4</c:v>
                </c:pt>
                <c:pt idx="22">
                  <c:v>3.9139000000000112E-4</c:v>
                </c:pt>
                <c:pt idx="23">
                  <c:v>1.8788000000000067E-4</c:v>
                </c:pt>
                <c:pt idx="24">
                  <c:v>3.8983000000000111E-4</c:v>
                </c:pt>
                <c:pt idx="25">
                  <c:v>2.9530000000000056E-4</c:v>
                </c:pt>
                <c:pt idx="26">
                  <c:v>3.9528000000000002E-4</c:v>
                </c:pt>
                <c:pt idx="27">
                  <c:v>1.3787000000000047E-4</c:v>
                </c:pt>
                <c:pt idx="28">
                  <c:v>2.5209000000000104E-4</c:v>
                </c:pt>
                <c:pt idx="29">
                  <c:v>3.9290000000000104E-4</c:v>
                </c:pt>
                <c:pt idx="30">
                  <c:v>3.73290000000001E-4</c:v>
                </c:pt>
                <c:pt idx="31">
                  <c:v>3.7082000000000147E-4</c:v>
                </c:pt>
                <c:pt idx="32">
                  <c:v>3.8307000000000087E-4</c:v>
                </c:pt>
                <c:pt idx="33">
                  <c:v>4.0751000000000123E-4</c:v>
                </c:pt>
                <c:pt idx="34">
                  <c:v>3.2499000000000129E-4</c:v>
                </c:pt>
                <c:pt idx="35">
                  <c:v>3.0676000000000108E-4</c:v>
                </c:pt>
                <c:pt idx="36">
                  <c:v>4.2408000000000143E-4</c:v>
                </c:pt>
                <c:pt idx="37">
                  <c:v>3.5747000000000112E-4</c:v>
                </c:pt>
                <c:pt idx="38">
                  <c:v>3.5018000000000012E-4</c:v>
                </c:pt>
                <c:pt idx="39">
                  <c:v>5.1044999999999997E-4</c:v>
                </c:pt>
                <c:pt idx="40">
                  <c:v>3.7942000000000119E-4</c:v>
                </c:pt>
                <c:pt idx="41">
                  <c:v>4.8999000000000004E-4</c:v>
                </c:pt>
                <c:pt idx="42">
                  <c:v>5.3749000000000028E-4</c:v>
                </c:pt>
                <c:pt idx="43">
                  <c:v>4.8579E-4</c:v>
                </c:pt>
                <c:pt idx="44">
                  <c:v>6.0358000000000189E-4</c:v>
                </c:pt>
                <c:pt idx="45">
                  <c:v>7.4009000000000217E-4</c:v>
                </c:pt>
                <c:pt idx="46">
                  <c:v>1.1041200000000001E-3</c:v>
                </c:pt>
                <c:pt idx="47">
                  <c:v>1.7678800000000001E-3</c:v>
                </c:pt>
                <c:pt idx="48">
                  <c:v>2.5931400000000012E-3</c:v>
                </c:pt>
                <c:pt idx="49">
                  <c:v>3.8311199999999999E-3</c:v>
                </c:pt>
                <c:pt idx="50">
                  <c:v>6.3887500000000133E-3</c:v>
                </c:pt>
                <c:pt idx="51">
                  <c:v>1.106599E-2</c:v>
                </c:pt>
                <c:pt idx="52">
                  <c:v>1.7895959999999999E-2</c:v>
                </c:pt>
                <c:pt idx="53">
                  <c:v>3.006696E-2</c:v>
                </c:pt>
                <c:pt idx="54">
                  <c:v>5.0713640000000185E-2</c:v>
                </c:pt>
                <c:pt idx="55">
                  <c:v>8.6171269999999994E-2</c:v>
                </c:pt>
                <c:pt idx="56">
                  <c:v>0.14710255</c:v>
                </c:pt>
                <c:pt idx="57">
                  <c:v>0.24402790999999999</c:v>
                </c:pt>
                <c:pt idx="58">
                  <c:v>0.38538423000000144</c:v>
                </c:pt>
                <c:pt idx="59">
                  <c:v>0.58163273999999821</c:v>
                </c:pt>
                <c:pt idx="60">
                  <c:v>0.84646507999999998</c:v>
                </c:pt>
                <c:pt idx="61">
                  <c:v>1</c:v>
                </c:pt>
                <c:pt idx="62">
                  <c:v>0.86825927000000203</c:v>
                </c:pt>
                <c:pt idx="63">
                  <c:v>0.65576026000000065</c:v>
                </c:pt>
                <c:pt idx="64">
                  <c:v>0.47053549</c:v>
                </c:pt>
                <c:pt idx="65">
                  <c:v>0.31478472000000102</c:v>
                </c:pt>
                <c:pt idx="66">
                  <c:v>0.19253339999999999</c:v>
                </c:pt>
                <c:pt idx="67">
                  <c:v>0.10753938</c:v>
                </c:pt>
                <c:pt idx="68">
                  <c:v>5.6122489999999997E-2</c:v>
                </c:pt>
                <c:pt idx="69">
                  <c:v>2.7891200000000119E-2</c:v>
                </c:pt>
                <c:pt idx="70">
                  <c:v>1.4455659999999999E-2</c:v>
                </c:pt>
                <c:pt idx="71">
                  <c:v>8.0686800000000208E-3</c:v>
                </c:pt>
                <c:pt idx="72">
                  <c:v>4.7901899999999997E-3</c:v>
                </c:pt>
                <c:pt idx="73">
                  <c:v>2.9860000000000012E-3</c:v>
                </c:pt>
                <c:pt idx="74">
                  <c:v>2.1306300000000066E-3</c:v>
                </c:pt>
                <c:pt idx="75">
                  <c:v>1.5900400000000061E-3</c:v>
                </c:pt>
                <c:pt idx="76">
                  <c:v>1.48299E-3</c:v>
                </c:pt>
                <c:pt idx="77">
                  <c:v>1.2473E-3</c:v>
                </c:pt>
                <c:pt idx="78">
                  <c:v>1.0277800000000001E-3</c:v>
                </c:pt>
                <c:pt idx="79">
                  <c:v>7.9793000000000409E-4</c:v>
                </c:pt>
                <c:pt idx="80">
                  <c:v>1.0314100000000021E-3</c:v>
                </c:pt>
                <c:pt idx="81">
                  <c:v>8.7145000000000028E-4</c:v>
                </c:pt>
                <c:pt idx="82">
                  <c:v>1.1057600000000001E-3</c:v>
                </c:pt>
                <c:pt idx="83">
                  <c:v>6.3052000000000182E-4</c:v>
                </c:pt>
                <c:pt idx="84">
                  <c:v>1.0842900000000001E-3</c:v>
                </c:pt>
                <c:pt idx="85">
                  <c:v>8.6122000000000065E-4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6-D853-4C07-A3F9-D422ED7C3890}"/>
            </c:ext>
          </c:extLst>
        </c:ser>
        <c:ser>
          <c:idx val="7"/>
          <c:order val="7"/>
          <c:tx>
            <c:strRef>
              <c:f>'Chlorophyll a and b Absorpt (2)'!$S$1</c:f>
              <c:strCache>
                <c:ptCount val="1"/>
                <c:pt idx="0">
                  <c:v>Far Red 730nm</c:v>
                </c:pt>
              </c:strCache>
            </c:strRef>
          </c:tx>
          <c:spPr>
            <a:ln w="38100">
              <a:solidFill>
                <a:srgbClr val="C00000"/>
              </a:solidFill>
            </a:ln>
          </c:spPr>
          <c:marker>
            <c:symbol val="none"/>
          </c:marker>
          <c:xVal>
            <c:numRef>
              <c:f>'Chlorophyll a and b Absorpt (2)'!$K$2:$K$103</c:f>
              <c:numCache>
                <c:formatCode>General</c:formatCode>
                <c:ptCount val="102"/>
                <c:pt idx="1">
                  <c:v>360</c:v>
                </c:pt>
                <c:pt idx="2">
                  <c:v>365</c:v>
                </c:pt>
                <c:pt idx="3">
                  <c:v>370</c:v>
                </c:pt>
                <c:pt idx="4">
                  <c:v>375</c:v>
                </c:pt>
                <c:pt idx="5">
                  <c:v>380</c:v>
                </c:pt>
                <c:pt idx="6">
                  <c:v>385</c:v>
                </c:pt>
                <c:pt idx="7">
                  <c:v>390</c:v>
                </c:pt>
                <c:pt idx="8">
                  <c:v>395</c:v>
                </c:pt>
                <c:pt idx="9">
                  <c:v>400</c:v>
                </c:pt>
                <c:pt idx="10">
                  <c:v>405</c:v>
                </c:pt>
                <c:pt idx="11">
                  <c:v>410</c:v>
                </c:pt>
                <c:pt idx="12">
                  <c:v>415</c:v>
                </c:pt>
                <c:pt idx="13">
                  <c:v>420</c:v>
                </c:pt>
                <c:pt idx="14">
                  <c:v>425</c:v>
                </c:pt>
                <c:pt idx="15">
                  <c:v>430</c:v>
                </c:pt>
                <c:pt idx="16">
                  <c:v>435</c:v>
                </c:pt>
                <c:pt idx="17">
                  <c:v>440</c:v>
                </c:pt>
                <c:pt idx="18">
                  <c:v>445</c:v>
                </c:pt>
                <c:pt idx="19">
                  <c:v>450</c:v>
                </c:pt>
                <c:pt idx="20">
                  <c:v>455</c:v>
                </c:pt>
                <c:pt idx="21">
                  <c:v>460</c:v>
                </c:pt>
                <c:pt idx="22">
                  <c:v>465</c:v>
                </c:pt>
                <c:pt idx="23">
                  <c:v>470</c:v>
                </c:pt>
                <c:pt idx="24">
                  <c:v>475</c:v>
                </c:pt>
                <c:pt idx="25">
                  <c:v>480</c:v>
                </c:pt>
                <c:pt idx="26">
                  <c:v>485</c:v>
                </c:pt>
                <c:pt idx="27">
                  <c:v>490</c:v>
                </c:pt>
                <c:pt idx="28">
                  <c:v>495</c:v>
                </c:pt>
                <c:pt idx="29">
                  <c:v>500</c:v>
                </c:pt>
                <c:pt idx="30">
                  <c:v>505</c:v>
                </c:pt>
                <c:pt idx="31">
                  <c:v>510</c:v>
                </c:pt>
                <c:pt idx="32">
                  <c:v>515</c:v>
                </c:pt>
                <c:pt idx="33">
                  <c:v>520</c:v>
                </c:pt>
                <c:pt idx="34">
                  <c:v>525</c:v>
                </c:pt>
                <c:pt idx="35">
                  <c:v>530</c:v>
                </c:pt>
                <c:pt idx="36">
                  <c:v>535</c:v>
                </c:pt>
                <c:pt idx="37">
                  <c:v>540</c:v>
                </c:pt>
                <c:pt idx="38">
                  <c:v>545</c:v>
                </c:pt>
                <c:pt idx="39">
                  <c:v>550</c:v>
                </c:pt>
                <c:pt idx="40">
                  <c:v>555</c:v>
                </c:pt>
                <c:pt idx="41">
                  <c:v>560</c:v>
                </c:pt>
                <c:pt idx="42">
                  <c:v>565</c:v>
                </c:pt>
                <c:pt idx="43">
                  <c:v>570</c:v>
                </c:pt>
                <c:pt idx="44">
                  <c:v>575</c:v>
                </c:pt>
                <c:pt idx="45">
                  <c:v>580</c:v>
                </c:pt>
                <c:pt idx="46">
                  <c:v>585</c:v>
                </c:pt>
                <c:pt idx="47">
                  <c:v>590</c:v>
                </c:pt>
                <c:pt idx="48">
                  <c:v>595</c:v>
                </c:pt>
                <c:pt idx="49">
                  <c:v>600</c:v>
                </c:pt>
                <c:pt idx="50">
                  <c:v>605</c:v>
                </c:pt>
                <c:pt idx="51">
                  <c:v>610</c:v>
                </c:pt>
                <c:pt idx="52">
                  <c:v>615</c:v>
                </c:pt>
                <c:pt idx="53">
                  <c:v>620</c:v>
                </c:pt>
                <c:pt idx="54">
                  <c:v>625</c:v>
                </c:pt>
                <c:pt idx="55">
                  <c:v>630</c:v>
                </c:pt>
                <c:pt idx="56">
                  <c:v>635</c:v>
                </c:pt>
                <c:pt idx="57">
                  <c:v>640</c:v>
                </c:pt>
                <c:pt idx="58">
                  <c:v>645</c:v>
                </c:pt>
                <c:pt idx="59">
                  <c:v>650</c:v>
                </c:pt>
                <c:pt idx="60">
                  <c:v>655</c:v>
                </c:pt>
                <c:pt idx="61">
                  <c:v>660</c:v>
                </c:pt>
                <c:pt idx="62">
                  <c:v>665</c:v>
                </c:pt>
                <c:pt idx="63">
                  <c:v>670</c:v>
                </c:pt>
                <c:pt idx="64">
                  <c:v>675</c:v>
                </c:pt>
                <c:pt idx="65">
                  <c:v>680</c:v>
                </c:pt>
                <c:pt idx="66">
                  <c:v>685</c:v>
                </c:pt>
                <c:pt idx="67">
                  <c:v>690</c:v>
                </c:pt>
                <c:pt idx="68">
                  <c:v>695</c:v>
                </c:pt>
                <c:pt idx="69">
                  <c:v>700</c:v>
                </c:pt>
                <c:pt idx="70">
                  <c:v>705</c:v>
                </c:pt>
                <c:pt idx="71">
                  <c:v>710</c:v>
                </c:pt>
                <c:pt idx="72">
                  <c:v>715</c:v>
                </c:pt>
                <c:pt idx="73">
                  <c:v>720</c:v>
                </c:pt>
                <c:pt idx="74">
                  <c:v>725</c:v>
                </c:pt>
                <c:pt idx="75">
                  <c:v>730</c:v>
                </c:pt>
                <c:pt idx="76">
                  <c:v>735</c:v>
                </c:pt>
                <c:pt idx="77">
                  <c:v>740</c:v>
                </c:pt>
                <c:pt idx="78">
                  <c:v>745</c:v>
                </c:pt>
                <c:pt idx="79">
                  <c:v>750</c:v>
                </c:pt>
                <c:pt idx="80">
                  <c:v>755</c:v>
                </c:pt>
                <c:pt idx="81">
                  <c:v>760</c:v>
                </c:pt>
                <c:pt idx="82">
                  <c:v>765</c:v>
                </c:pt>
                <c:pt idx="83">
                  <c:v>770</c:v>
                </c:pt>
                <c:pt idx="84">
                  <c:v>775</c:v>
                </c:pt>
                <c:pt idx="85">
                  <c:v>780</c:v>
                </c:pt>
                <c:pt idx="86">
                  <c:v>785</c:v>
                </c:pt>
                <c:pt idx="87">
                  <c:v>790</c:v>
                </c:pt>
                <c:pt idx="88">
                  <c:v>795</c:v>
                </c:pt>
                <c:pt idx="89">
                  <c:v>800</c:v>
                </c:pt>
                <c:pt idx="90">
                  <c:v>805</c:v>
                </c:pt>
                <c:pt idx="91">
                  <c:v>810</c:v>
                </c:pt>
                <c:pt idx="92">
                  <c:v>815</c:v>
                </c:pt>
                <c:pt idx="93">
                  <c:v>820</c:v>
                </c:pt>
                <c:pt idx="94">
                  <c:v>825</c:v>
                </c:pt>
                <c:pt idx="95">
                  <c:v>830</c:v>
                </c:pt>
                <c:pt idx="96">
                  <c:v>835</c:v>
                </c:pt>
                <c:pt idx="97">
                  <c:v>840</c:v>
                </c:pt>
                <c:pt idx="98">
                  <c:v>845</c:v>
                </c:pt>
                <c:pt idx="99">
                  <c:v>850</c:v>
                </c:pt>
                <c:pt idx="100">
                  <c:v>855</c:v>
                </c:pt>
                <c:pt idx="101">
                  <c:v>860</c:v>
                </c:pt>
              </c:numCache>
            </c:numRef>
          </c:xVal>
          <c:yVal>
            <c:numRef>
              <c:f>'Chlorophyll a and b Absorpt (2)'!$S$2:$S$103</c:f>
              <c:numCache>
                <c:formatCode>General</c:formatCode>
                <c:ptCount val="102"/>
                <c:pt idx="1">
                  <c:v>2.8461000000000052E-4</c:v>
                </c:pt>
                <c:pt idx="2">
                  <c:v>4.0868000000000143E-4</c:v>
                </c:pt>
                <c:pt idx="3">
                  <c:v>1.0820000000000052E-4</c:v>
                </c:pt>
                <c:pt idx="4">
                  <c:v>2.5083000000000104E-4</c:v>
                </c:pt>
                <c:pt idx="5">
                  <c:v>-1.3110000000000049E-5</c:v>
                </c:pt>
                <c:pt idx="6">
                  <c:v>-9.8190000000000495E-5</c:v>
                </c:pt>
                <c:pt idx="7">
                  <c:v>1.2690999999999999E-4</c:v>
                </c:pt>
                <c:pt idx="8">
                  <c:v>3.9393000000000099E-4</c:v>
                </c:pt>
                <c:pt idx="9">
                  <c:v>-9.4990000000000458E-5</c:v>
                </c:pt>
                <c:pt idx="10">
                  <c:v>2.7220000000000109E-5</c:v>
                </c:pt>
                <c:pt idx="11">
                  <c:v>5.9780000000000332E-5</c:v>
                </c:pt>
                <c:pt idx="12">
                  <c:v>1.2190000000000001E-4</c:v>
                </c:pt>
                <c:pt idx="13">
                  <c:v>1.0172000000000001E-4</c:v>
                </c:pt>
                <c:pt idx="14">
                  <c:v>-5.0540000000000014E-5</c:v>
                </c:pt>
                <c:pt idx="15">
                  <c:v>7.0549999999999994E-5</c:v>
                </c:pt>
                <c:pt idx="16">
                  <c:v>4.6970000000000013E-5</c:v>
                </c:pt>
                <c:pt idx="17">
                  <c:v>-4.4710000000000289E-5</c:v>
                </c:pt>
                <c:pt idx="18">
                  <c:v>5.9480000000000325E-5</c:v>
                </c:pt>
                <c:pt idx="19">
                  <c:v>6.6610000000000204E-5</c:v>
                </c:pt>
                <c:pt idx="20">
                  <c:v>8.1610000000000067E-5</c:v>
                </c:pt>
                <c:pt idx="21">
                  <c:v>2.1026000000000006E-4</c:v>
                </c:pt>
                <c:pt idx="22">
                  <c:v>1.3500000000000085E-6</c:v>
                </c:pt>
                <c:pt idx="23">
                  <c:v>3.2500000000000163E-6</c:v>
                </c:pt>
                <c:pt idx="24">
                  <c:v>1.2983000000000046E-4</c:v>
                </c:pt>
                <c:pt idx="25">
                  <c:v>9.0150000000000389E-5</c:v>
                </c:pt>
                <c:pt idx="26">
                  <c:v>1.1319000000000003E-4</c:v>
                </c:pt>
                <c:pt idx="27">
                  <c:v>1.2171000000000001E-4</c:v>
                </c:pt>
                <c:pt idx="28">
                  <c:v>1.4119999999999999E-4</c:v>
                </c:pt>
                <c:pt idx="29">
                  <c:v>2.8720000000000006E-5</c:v>
                </c:pt>
                <c:pt idx="30">
                  <c:v>1.8250000000000053E-4</c:v>
                </c:pt>
                <c:pt idx="31">
                  <c:v>1.0312000000000003E-4</c:v>
                </c:pt>
                <c:pt idx="32">
                  <c:v>1.1476000000000033E-4</c:v>
                </c:pt>
                <c:pt idx="33">
                  <c:v>3.7180000000000176E-5</c:v>
                </c:pt>
                <c:pt idx="34">
                  <c:v>1.8469000000000065E-4</c:v>
                </c:pt>
                <c:pt idx="35">
                  <c:v>1.9829000000000084E-4</c:v>
                </c:pt>
                <c:pt idx="36">
                  <c:v>1.3155999999999999E-4</c:v>
                </c:pt>
                <c:pt idx="37">
                  <c:v>1.5635000000000003E-4</c:v>
                </c:pt>
                <c:pt idx="38">
                  <c:v>2.3967999999999998E-4</c:v>
                </c:pt>
                <c:pt idx="39">
                  <c:v>4.3860000000000166E-5</c:v>
                </c:pt>
                <c:pt idx="40">
                  <c:v>-2.4940000000000012E-5</c:v>
                </c:pt>
                <c:pt idx="41">
                  <c:v>1.7604000000000057E-4</c:v>
                </c:pt>
                <c:pt idx="42">
                  <c:v>5.5320000000000209E-5</c:v>
                </c:pt>
                <c:pt idx="43">
                  <c:v>1.2860000000000044E-4</c:v>
                </c:pt>
                <c:pt idx="44">
                  <c:v>2.3863000000000012E-4</c:v>
                </c:pt>
                <c:pt idx="45">
                  <c:v>2.8095000000000051E-4</c:v>
                </c:pt>
                <c:pt idx="46">
                  <c:v>1.4129000000000002E-4</c:v>
                </c:pt>
                <c:pt idx="47">
                  <c:v>1.4731999999999999E-4</c:v>
                </c:pt>
                <c:pt idx="48">
                  <c:v>2.1392000000000001E-4</c:v>
                </c:pt>
                <c:pt idx="49">
                  <c:v>2.8487000000000098E-4</c:v>
                </c:pt>
                <c:pt idx="50">
                  <c:v>1.4473000000000001E-4</c:v>
                </c:pt>
                <c:pt idx="51">
                  <c:v>3.0465000000000087E-4</c:v>
                </c:pt>
                <c:pt idx="52">
                  <c:v>4.5457000000000136E-4</c:v>
                </c:pt>
                <c:pt idx="53">
                  <c:v>6.6611000000000003E-4</c:v>
                </c:pt>
                <c:pt idx="54">
                  <c:v>7.2748000000000192E-4</c:v>
                </c:pt>
                <c:pt idx="55">
                  <c:v>9.0352000000000227E-4</c:v>
                </c:pt>
                <c:pt idx="56">
                  <c:v>1.45798E-3</c:v>
                </c:pt>
                <c:pt idx="57">
                  <c:v>1.655680000000004E-3</c:v>
                </c:pt>
                <c:pt idx="58">
                  <c:v>2.7011000000000105E-3</c:v>
                </c:pt>
                <c:pt idx="59">
                  <c:v>4.1652199999999999E-3</c:v>
                </c:pt>
                <c:pt idx="60">
                  <c:v>6.2695300000000023E-3</c:v>
                </c:pt>
                <c:pt idx="61">
                  <c:v>9.8199000000000342E-3</c:v>
                </c:pt>
                <c:pt idx="62">
                  <c:v>1.4532939999999998E-2</c:v>
                </c:pt>
                <c:pt idx="63">
                  <c:v>2.3110519999999978E-2</c:v>
                </c:pt>
                <c:pt idx="64">
                  <c:v>3.4797660000000001E-2</c:v>
                </c:pt>
                <c:pt idx="65">
                  <c:v>5.2852879999999998E-2</c:v>
                </c:pt>
                <c:pt idx="66">
                  <c:v>7.8061729999999996E-2</c:v>
                </c:pt>
                <c:pt idx="67">
                  <c:v>0.11599716</c:v>
                </c:pt>
                <c:pt idx="68">
                  <c:v>0.17377328000000042</c:v>
                </c:pt>
                <c:pt idx="69">
                  <c:v>0.25367404000000005</c:v>
                </c:pt>
                <c:pt idx="70">
                  <c:v>0.35977032000000031</c:v>
                </c:pt>
                <c:pt idx="71">
                  <c:v>0.47362858000000102</c:v>
                </c:pt>
                <c:pt idx="72">
                  <c:v>0.59560609999999958</c:v>
                </c:pt>
                <c:pt idx="73">
                  <c:v>0.74040426999999998</c:v>
                </c:pt>
                <c:pt idx="74">
                  <c:v>0.89496670999999794</c:v>
                </c:pt>
                <c:pt idx="75">
                  <c:v>0.99851646999999688</c:v>
                </c:pt>
                <c:pt idx="76">
                  <c:v>0.88066063000000061</c:v>
                </c:pt>
                <c:pt idx="77">
                  <c:v>0.54385638999999819</c:v>
                </c:pt>
                <c:pt idx="78">
                  <c:v>0.27332080000000114</c:v>
                </c:pt>
                <c:pt idx="79">
                  <c:v>0.13104521999999999</c:v>
                </c:pt>
                <c:pt idx="80">
                  <c:v>6.363290000000002E-2</c:v>
                </c:pt>
                <c:pt idx="81">
                  <c:v>3.3023879999999999E-2</c:v>
                </c:pt>
                <c:pt idx="82">
                  <c:v>1.7392790000000002E-2</c:v>
                </c:pt>
                <c:pt idx="83">
                  <c:v>9.6963900000000026E-3</c:v>
                </c:pt>
                <c:pt idx="84">
                  <c:v>6.0012900000000237E-3</c:v>
                </c:pt>
                <c:pt idx="85">
                  <c:v>3.7264500000000066E-3</c:v>
                </c:pt>
                <c:pt idx="86">
                  <c:v>2.4434700000000066E-3</c:v>
                </c:pt>
                <c:pt idx="87">
                  <c:v>0</c:v>
                </c:pt>
                <c:pt idx="88">
                  <c:v>2.1306300000000066E-3</c:v>
                </c:pt>
                <c:pt idx="89">
                  <c:v>1.5900400000000061E-3</c:v>
                </c:pt>
                <c:pt idx="90">
                  <c:v>1.48299E-3</c:v>
                </c:pt>
                <c:pt idx="91">
                  <c:v>1.2473E-3</c:v>
                </c:pt>
                <c:pt idx="92">
                  <c:v>1.0277800000000001E-3</c:v>
                </c:pt>
                <c:pt idx="93">
                  <c:v>7.9793000000000409E-4</c:v>
                </c:pt>
                <c:pt idx="94">
                  <c:v>1.0314100000000021E-3</c:v>
                </c:pt>
                <c:pt idx="95">
                  <c:v>8.7145000000000028E-4</c:v>
                </c:pt>
                <c:pt idx="96">
                  <c:v>1.1057600000000001E-3</c:v>
                </c:pt>
                <c:pt idx="97">
                  <c:v>6.3052000000000182E-4</c:v>
                </c:pt>
                <c:pt idx="98">
                  <c:v>1.0842900000000001E-3</c:v>
                </c:pt>
                <c:pt idx="99">
                  <c:v>8.6122000000000065E-4</c:v>
                </c:pt>
                <c:pt idx="100">
                  <c:v>0</c:v>
                </c:pt>
                <c:pt idx="101">
                  <c:v>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7-D853-4C07-A3F9-D422ED7C38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9588736"/>
        <c:axId val="119607296"/>
      </c:scatterChart>
      <c:valAx>
        <c:axId val="119588736"/>
        <c:scaling>
          <c:orientation val="minMax"/>
          <c:max val="820"/>
          <c:min val="400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ru-RU"/>
                  <a:t>Длина волны, нм</a:t>
                </a:r>
              </a:p>
            </c:rich>
          </c:tx>
          <c:layout>
            <c:manualLayout>
              <c:xMode val="edge"/>
              <c:yMode val="edge"/>
              <c:x val="0.44784346878124681"/>
              <c:y val="0.95219821254428882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crossAx val="119607296"/>
        <c:crosses val="autoZero"/>
        <c:crossBetween val="midCat"/>
      </c:valAx>
      <c:valAx>
        <c:axId val="119607296"/>
        <c:scaling>
          <c:orientation val="minMax"/>
          <c:max val="1"/>
          <c:min val="0"/>
        </c:scaling>
        <c:delete val="1"/>
        <c:axPos val="l"/>
        <c:majorGridlines/>
        <c:numFmt formatCode="General" sourceLinked="1"/>
        <c:majorTickMark val="out"/>
        <c:minorTickMark val="none"/>
        <c:tickLblPos val="none"/>
        <c:crossAx val="119588736"/>
        <c:crosses val="autoZero"/>
        <c:crossBetween val="midCat"/>
      </c:valAx>
      <c:spPr>
        <a:ln>
          <a:solidFill>
            <a:sysClr val="windowText" lastClr="000000"/>
          </a:solidFill>
        </a:ln>
      </c:spPr>
    </c:plotArea>
    <c:legend>
      <c:legendPos val="r"/>
      <c:layout>
        <c:manualLayout>
          <c:xMode val="edge"/>
          <c:yMode val="edge"/>
          <c:x val="0.26723927996095681"/>
          <c:y val="5.2093552693768495E-2"/>
          <c:w val="0.26126486937959392"/>
          <c:h val="0.38917968624955218"/>
        </c:manualLayout>
      </c:layout>
      <c:overlay val="0"/>
      <c:spPr>
        <a:solidFill>
          <a:schemeClr val="bg1"/>
        </a:solidFill>
      </c:spPr>
    </c:legend>
    <c:plotVisOnly val="1"/>
    <c:dispBlanksAs val="gap"/>
    <c:showDLblsOverMax val="0"/>
  </c:chart>
  <c:txPr>
    <a:bodyPr/>
    <a:lstStyle/>
    <a:p>
      <a:pPr>
        <a:defRPr sz="1200" b="0">
          <a:latin typeface="Arial" pitchFamily="34" charset="0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0050" cy="495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3338" y="0"/>
            <a:ext cx="2940050" cy="495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830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2950"/>
            <a:ext cx="4953000" cy="37147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17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7863" y="4705350"/>
            <a:ext cx="5429250" cy="44577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17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09113"/>
            <a:ext cx="2940050" cy="495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17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3338" y="9409113"/>
            <a:ext cx="2940050" cy="495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4B57490B-5A06-46FC-8E44-9224F6AEF1A6}" type="slidenum">
              <a:rPr lang="de-DE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3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00354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100355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71D52193-C77C-410B-A10F-5C19434CE80A}" type="slidenum">
              <a:rPr lang="de-DE" smtClean="0"/>
              <a:pPr/>
              <a:t>1</a:t>
            </a:fld>
            <a:endParaRPr lang="ru-RU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69" name="Folienbildplatzhalt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35170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135171" name="Foliennummernplatzhalter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6EA4C9A0-2E3E-414B-8626-13681C335713}" type="slidenum">
              <a:rPr lang="de-DE" smtClean="0">
                <a:solidFill>
                  <a:srgbClr val="000000"/>
                </a:solidFill>
              </a:rPr>
              <a:pPr/>
              <a:t>26</a:t>
            </a:fld>
            <a:endParaRPr lang="ru-RU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697" name="Folienbildplatzhalt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57698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GB" smtClean="0"/>
          </a:p>
        </p:txBody>
      </p:sp>
      <p:sp>
        <p:nvSpPr>
          <p:cNvPr id="157699" name="Foliennummernplatzhalter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CF6CCC6B-55E6-4A15-95AC-15096347F120}" type="slidenum">
              <a:rPr lang="de-DE" smtClean="0">
                <a:solidFill>
                  <a:srgbClr val="000000"/>
                </a:solidFill>
              </a:rPr>
              <a:pPr/>
              <a:t>47</a:t>
            </a:fld>
            <a:endParaRPr lang="ru-RU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1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02402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102403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06D75615-0949-4A29-A9D3-F43AC14D50D5}" type="slidenum">
              <a:rPr lang="de-DE" smtClean="0"/>
              <a:pPr/>
              <a:t>2</a:t>
            </a:fld>
            <a:endParaRPr lang="ru-RU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49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04450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104451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AA675936-93FE-404E-9513-50A949555375}" type="slidenum">
              <a:rPr lang="de-DE" smtClean="0"/>
              <a:pPr/>
              <a:t>3</a:t>
            </a:fld>
            <a:endParaRPr lang="ru-RU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7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06498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106499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09BA93A6-5556-4AB7-A430-735FF38715DB}" type="slidenum">
              <a:rPr lang="de-DE" smtClean="0"/>
              <a:pPr/>
              <a:t>4</a:t>
            </a:fld>
            <a:endParaRPr lang="ru-RU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5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08546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10854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69E2A469-7A76-40D7-899A-A77C36A9DA66}" type="slidenum">
              <a:rPr lang="de-DE" smtClean="0"/>
              <a:pPr/>
              <a:t>5</a:t>
            </a:fld>
            <a:endParaRPr lang="ru-RU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3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10594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110595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3F0DCEC1-3F7F-4F56-BAA6-ED7B9C9A0D22}" type="slidenum">
              <a:rPr lang="de-DE" smtClean="0"/>
              <a:pPr/>
              <a:t>6</a:t>
            </a:fld>
            <a:endParaRPr lang="ru-RU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1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12642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112643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91419FC3-4D8A-4007-A63C-FD6BD03A7AF4}" type="slidenum">
              <a:rPr lang="de-DE" smtClean="0"/>
              <a:pPr/>
              <a:t>7</a:t>
            </a:fld>
            <a:endParaRPr lang="ru-RU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89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14690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114691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E8E08D8F-5AB3-4937-8B3C-812057430AB3}" type="slidenum">
              <a:rPr lang="de-DE" smtClean="0"/>
              <a:pPr/>
              <a:t>8</a:t>
            </a:fld>
            <a:endParaRPr lang="ru-RU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7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16738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116739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2C722AE3-2737-4D7F-9D7D-0CFF22F5E026}" type="slidenum">
              <a:rPr lang="de-DE" smtClean="0"/>
              <a:pPr/>
              <a:t>9</a:t>
            </a:fld>
            <a:endParaRPr lang="ru-RU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1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62825" y="6021388"/>
            <a:ext cx="1231900" cy="484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 bwMode="gray">
          <a:xfrm>
            <a:off x="0" y="0"/>
            <a:ext cx="9144000" cy="6857999"/>
          </a:xfrm>
          <a:custGeom>
            <a:avLst/>
            <a:gdLst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59644 w 9144000"/>
              <a:gd name="connsiteY5" fmla="*/ 2596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84356 w 9144000"/>
              <a:gd name="connsiteY8" fmla="*/ 259644 h 6857999"/>
              <a:gd name="connsiteX9" fmla="*/ 259644 w 9144000"/>
              <a:gd name="connsiteY9" fmla="*/ 259644 h 6857999"/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59644 w 9144000"/>
              <a:gd name="connsiteY5" fmla="*/ 48748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84356 w 9144000"/>
              <a:gd name="connsiteY8" fmla="*/ 259644 h 6857999"/>
              <a:gd name="connsiteX9" fmla="*/ 259644 w 9144000"/>
              <a:gd name="connsiteY9" fmla="*/ 4874844 h 6857999"/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59644 w 9144000"/>
              <a:gd name="connsiteY5" fmla="*/ 48748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77156 w 9144000"/>
              <a:gd name="connsiteY8" fmla="*/ 4666044 h 6857999"/>
              <a:gd name="connsiteX9" fmla="*/ 259644 w 9144000"/>
              <a:gd name="connsiteY9" fmla="*/ 4874844 h 6857999"/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59644 w 9144000"/>
              <a:gd name="connsiteY5" fmla="*/ 48748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77156 w 9144000"/>
              <a:gd name="connsiteY8" fmla="*/ 4284444 h 6857999"/>
              <a:gd name="connsiteX9" fmla="*/ 259644 w 9144000"/>
              <a:gd name="connsiteY9" fmla="*/ 4874844 h 6857999"/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66844 w 9144000"/>
              <a:gd name="connsiteY5" fmla="*/ 42844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77156 w 9144000"/>
              <a:gd name="connsiteY8" fmla="*/ 4284444 h 6857999"/>
              <a:gd name="connsiteX9" fmla="*/ 266844 w 9144000"/>
              <a:gd name="connsiteY9" fmla="*/ 4284444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44000" h="6857999">
                <a:moveTo>
                  <a:pt x="0" y="0"/>
                </a:moveTo>
                <a:lnTo>
                  <a:pt x="9144000" y="0"/>
                </a:lnTo>
                <a:lnTo>
                  <a:pt x="9144000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266844" y="4284444"/>
                </a:moveTo>
                <a:lnTo>
                  <a:pt x="259644" y="6598355"/>
                </a:lnTo>
                <a:lnTo>
                  <a:pt x="8884356" y="6598355"/>
                </a:lnTo>
                <a:lnTo>
                  <a:pt x="8877156" y="4284444"/>
                </a:lnTo>
                <a:lnTo>
                  <a:pt x="266844" y="4284444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anchor="ctr"/>
          <a:lstStyle>
            <a:lvl1pPr algn="ctr">
              <a:defRPr b="0"/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39939" name="Rectangle 3"/>
          <p:cNvSpPr>
            <a:spLocks noGrp="1" noChangeArrowheads="1"/>
          </p:cNvSpPr>
          <p:nvPr>
            <p:ph type="ctrTitle"/>
          </p:nvPr>
        </p:nvSpPr>
        <p:spPr bwMode="gray">
          <a:xfrm>
            <a:off x="539750" y="4508501"/>
            <a:ext cx="8064500" cy="996950"/>
          </a:xfrm>
        </p:spPr>
        <p:txBody>
          <a:bodyPr/>
          <a:lstStyle>
            <a:lvl1pPr>
              <a:lnSpc>
                <a:spcPct val="100000"/>
              </a:lnSpc>
              <a:defRPr sz="3000"/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en-US" noProof="0" smtClean="0"/>
          </a:p>
        </p:txBody>
      </p:sp>
      <p:sp>
        <p:nvSpPr>
          <p:cNvPr id="39940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39750" y="5661248"/>
            <a:ext cx="6119813" cy="698276"/>
          </a:xfrm>
        </p:spPr>
        <p:txBody>
          <a:bodyPr anchor="b"/>
          <a:lstStyle>
            <a:lvl1pPr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  <a:endParaRPr lang="en-US" noProof="0" smtClean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 bwMode="gray">
          <a:xfrm>
            <a:off x="0" y="404813"/>
            <a:ext cx="9144000" cy="324000"/>
          </a:xfrm>
          <a:solidFill>
            <a:schemeClr val="accent1"/>
          </a:solidFill>
          <a:ln>
            <a:noFill/>
          </a:ln>
        </p:spPr>
        <p:txBody>
          <a:bodyPr lIns="540000" anchor="ctr"/>
          <a:lstStyle>
            <a:lvl1pPr>
              <a:lnSpc>
                <a:spcPct val="100000"/>
              </a:lnSpc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9144000" cy="6308725"/>
          </a:xfr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4857751"/>
            <a:ext cx="8064500" cy="1101724"/>
          </a:xfrm>
          <a:noFill/>
          <a:ln>
            <a:noFill/>
          </a:ln>
          <a:effectLst/>
          <a:extLst/>
        </p:spPr>
        <p:txBody>
          <a:bodyPr anchor="b"/>
          <a:lstStyle>
            <a:lvl1pPr>
              <a:defRPr lang="en-GB" sz="2400" kern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9144000" cy="5516563"/>
          </a:xfr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39750" y="5517232"/>
            <a:ext cx="3960813" cy="792088"/>
          </a:xfrm>
          <a:noFill/>
          <a:ln>
            <a:noFill/>
          </a:ln>
          <a:effectLst/>
          <a:extLst/>
        </p:spPr>
        <p:txBody>
          <a:bodyPr tIns="36000" anchor="t"/>
          <a:lstStyle>
            <a:lvl1pPr>
              <a:lnSpc>
                <a:spcPct val="100000"/>
              </a:lnSpc>
              <a:defRPr lang="en-GB" sz="1500" b="0" kern="1200" noProof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defRPr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gray">
          <a:xfrm>
            <a:off x="4643438" y="5516563"/>
            <a:ext cx="3960812" cy="792162"/>
          </a:xfrm>
          <a:noFill/>
          <a:ln>
            <a:noFill/>
          </a:ln>
          <a:effectLst/>
          <a:extLst/>
        </p:spPr>
        <p:txBody>
          <a:bodyPr tIns="36000"/>
          <a:lstStyle>
            <a:lvl1pPr>
              <a:lnSpc>
                <a:spcPct val="100000"/>
              </a:lnSpc>
              <a:defRPr lang="en-GB" sz="1500" b="0" kern="1200" noProof="0" smtClean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\\FLS-SJC01\PCcommon\Marcom - Public\OS Logos 2013\New Logos October 2013\Office_Multimedia\OSRAM_OS_CorpLogo-RGBpos_2013.jpg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239000" y="5867400"/>
            <a:ext cx="15367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 bwMode="gray">
          <a:xfrm>
            <a:off x="0" y="0"/>
            <a:ext cx="9144000" cy="6857999"/>
          </a:xfrm>
          <a:custGeom>
            <a:avLst/>
            <a:gdLst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59644 w 9144000"/>
              <a:gd name="connsiteY5" fmla="*/ 2596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84356 w 9144000"/>
              <a:gd name="connsiteY8" fmla="*/ 259644 h 6857999"/>
              <a:gd name="connsiteX9" fmla="*/ 259644 w 9144000"/>
              <a:gd name="connsiteY9" fmla="*/ 259644 h 6857999"/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59644 w 9144000"/>
              <a:gd name="connsiteY5" fmla="*/ 48748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84356 w 9144000"/>
              <a:gd name="connsiteY8" fmla="*/ 259644 h 6857999"/>
              <a:gd name="connsiteX9" fmla="*/ 259644 w 9144000"/>
              <a:gd name="connsiteY9" fmla="*/ 4874844 h 6857999"/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59644 w 9144000"/>
              <a:gd name="connsiteY5" fmla="*/ 48748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77156 w 9144000"/>
              <a:gd name="connsiteY8" fmla="*/ 4666044 h 6857999"/>
              <a:gd name="connsiteX9" fmla="*/ 259644 w 9144000"/>
              <a:gd name="connsiteY9" fmla="*/ 4874844 h 6857999"/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59644 w 9144000"/>
              <a:gd name="connsiteY5" fmla="*/ 48748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77156 w 9144000"/>
              <a:gd name="connsiteY8" fmla="*/ 4284444 h 6857999"/>
              <a:gd name="connsiteX9" fmla="*/ 259644 w 9144000"/>
              <a:gd name="connsiteY9" fmla="*/ 4874844 h 6857999"/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66844 w 9144000"/>
              <a:gd name="connsiteY5" fmla="*/ 42844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77156 w 9144000"/>
              <a:gd name="connsiteY8" fmla="*/ 4284444 h 6857999"/>
              <a:gd name="connsiteX9" fmla="*/ 266844 w 9144000"/>
              <a:gd name="connsiteY9" fmla="*/ 4284444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44000" h="6857999">
                <a:moveTo>
                  <a:pt x="0" y="0"/>
                </a:moveTo>
                <a:lnTo>
                  <a:pt x="9144000" y="0"/>
                </a:lnTo>
                <a:lnTo>
                  <a:pt x="9144000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266844" y="4284444"/>
                </a:moveTo>
                <a:lnTo>
                  <a:pt x="259644" y="6598355"/>
                </a:lnTo>
                <a:lnTo>
                  <a:pt x="8884356" y="6598355"/>
                </a:lnTo>
                <a:lnTo>
                  <a:pt x="8877156" y="4284444"/>
                </a:lnTo>
                <a:lnTo>
                  <a:pt x="266844" y="4284444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anchor="ctr"/>
          <a:lstStyle>
            <a:lvl1pPr algn="ctr">
              <a:defRPr b="0"/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39939" name="Rectangle 3"/>
          <p:cNvSpPr>
            <a:spLocks noGrp="1" noChangeArrowheads="1"/>
          </p:cNvSpPr>
          <p:nvPr>
            <p:ph type="ctrTitle"/>
          </p:nvPr>
        </p:nvSpPr>
        <p:spPr bwMode="gray">
          <a:xfrm>
            <a:off x="539750" y="4508501"/>
            <a:ext cx="8064500" cy="996950"/>
          </a:xfrm>
        </p:spPr>
        <p:txBody>
          <a:bodyPr/>
          <a:lstStyle>
            <a:lvl1pPr>
              <a:lnSpc>
                <a:spcPct val="100000"/>
              </a:lnSpc>
              <a:defRPr sz="3000"/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en-GB" noProof="0" smtClean="0"/>
          </a:p>
        </p:txBody>
      </p:sp>
      <p:sp>
        <p:nvSpPr>
          <p:cNvPr id="39940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39750" y="5661248"/>
            <a:ext cx="6119813" cy="698276"/>
          </a:xfrm>
        </p:spPr>
        <p:txBody>
          <a:bodyPr anchor="b"/>
          <a:lstStyle>
            <a:lvl1pPr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  <a:endParaRPr lang="en-GB" noProof="0" smtClean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 bwMode="gray">
          <a:xfrm>
            <a:off x="0" y="404813"/>
            <a:ext cx="9144000" cy="324000"/>
          </a:xfrm>
          <a:solidFill>
            <a:srgbClr val="FF6600"/>
          </a:solidFill>
          <a:ln>
            <a:noFill/>
          </a:ln>
        </p:spPr>
        <p:txBody>
          <a:bodyPr lIns="540000" anchor="ctr"/>
          <a:lstStyle>
            <a:lvl1pPr>
              <a:lnSpc>
                <a:spcPct val="100000"/>
              </a:lnSpc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ith Picture (Cobra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\\FLS-SJC01\PCcommon\Marcom - Public\OS Logos 2013\New Logos October 2013\Office_Multimedia\OSRAM_OS_CorpLogo-RGBpos_2013.jpg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239000" y="5867400"/>
            <a:ext cx="15367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 bwMode="gray">
          <a:xfrm>
            <a:off x="0" y="0"/>
            <a:ext cx="9144000" cy="6857999"/>
          </a:xfrm>
          <a:custGeom>
            <a:avLst/>
            <a:gdLst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59644 w 9144000"/>
              <a:gd name="connsiteY5" fmla="*/ 2596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84356 w 9144000"/>
              <a:gd name="connsiteY8" fmla="*/ 259644 h 6857999"/>
              <a:gd name="connsiteX9" fmla="*/ 259644 w 9144000"/>
              <a:gd name="connsiteY9" fmla="*/ 259644 h 6857999"/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59644 w 9144000"/>
              <a:gd name="connsiteY5" fmla="*/ 48748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84356 w 9144000"/>
              <a:gd name="connsiteY8" fmla="*/ 259644 h 6857999"/>
              <a:gd name="connsiteX9" fmla="*/ 259644 w 9144000"/>
              <a:gd name="connsiteY9" fmla="*/ 4874844 h 6857999"/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59644 w 9144000"/>
              <a:gd name="connsiteY5" fmla="*/ 48748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77156 w 9144000"/>
              <a:gd name="connsiteY8" fmla="*/ 4666044 h 6857999"/>
              <a:gd name="connsiteX9" fmla="*/ 259644 w 9144000"/>
              <a:gd name="connsiteY9" fmla="*/ 4874844 h 6857999"/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59644 w 9144000"/>
              <a:gd name="connsiteY5" fmla="*/ 48748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77156 w 9144000"/>
              <a:gd name="connsiteY8" fmla="*/ 4284444 h 6857999"/>
              <a:gd name="connsiteX9" fmla="*/ 259644 w 9144000"/>
              <a:gd name="connsiteY9" fmla="*/ 4874844 h 6857999"/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66844 w 9144000"/>
              <a:gd name="connsiteY5" fmla="*/ 42844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77156 w 9144000"/>
              <a:gd name="connsiteY8" fmla="*/ 4284444 h 6857999"/>
              <a:gd name="connsiteX9" fmla="*/ 266844 w 9144000"/>
              <a:gd name="connsiteY9" fmla="*/ 4284444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44000" h="6857999">
                <a:moveTo>
                  <a:pt x="0" y="0"/>
                </a:moveTo>
                <a:lnTo>
                  <a:pt x="9144000" y="0"/>
                </a:lnTo>
                <a:lnTo>
                  <a:pt x="9144000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266844" y="4284444"/>
                </a:moveTo>
                <a:lnTo>
                  <a:pt x="259644" y="6598355"/>
                </a:lnTo>
                <a:lnTo>
                  <a:pt x="8884356" y="6598355"/>
                </a:lnTo>
                <a:lnTo>
                  <a:pt x="8877156" y="4284444"/>
                </a:lnTo>
                <a:lnTo>
                  <a:pt x="266844" y="4284444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anchor="ctr"/>
          <a:lstStyle>
            <a:lvl1pPr algn="ctr">
              <a:defRPr b="0"/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39939" name="Rectangle 3"/>
          <p:cNvSpPr>
            <a:spLocks noGrp="1" noChangeArrowheads="1"/>
          </p:cNvSpPr>
          <p:nvPr>
            <p:ph type="ctrTitle"/>
          </p:nvPr>
        </p:nvSpPr>
        <p:spPr bwMode="gray">
          <a:xfrm>
            <a:off x="539750" y="4508501"/>
            <a:ext cx="8064500" cy="936723"/>
          </a:xfrm>
        </p:spPr>
        <p:txBody>
          <a:bodyPr/>
          <a:lstStyle>
            <a:lvl1pPr>
              <a:lnSpc>
                <a:spcPct val="100000"/>
              </a:lnSpc>
              <a:defRPr sz="3000"/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en-GB" noProof="0" smtClean="0"/>
          </a:p>
        </p:txBody>
      </p:sp>
      <p:sp>
        <p:nvSpPr>
          <p:cNvPr id="39940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39750" y="5446800"/>
            <a:ext cx="6119813" cy="266400"/>
          </a:xfrm>
        </p:spPr>
        <p:txBody>
          <a:bodyPr anchor="b"/>
          <a:lstStyle>
            <a:lvl1pPr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  <a:endParaRPr lang="en-GB" noProof="0" smtClean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 bwMode="gray">
          <a:xfrm>
            <a:off x="0" y="404813"/>
            <a:ext cx="9144000" cy="324000"/>
          </a:xfrm>
          <a:solidFill>
            <a:srgbClr val="FF6600"/>
          </a:solidFill>
          <a:ln>
            <a:noFill/>
          </a:ln>
        </p:spPr>
        <p:txBody>
          <a:bodyPr lIns="540000" anchor="ctr"/>
          <a:lstStyle>
            <a:lvl1pPr>
              <a:lnSpc>
                <a:spcPct val="100000"/>
              </a:lnSpc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5"/>
          <p:cNvSpPr txBox="1">
            <a:spLocks noChangeArrowheads="1"/>
          </p:cNvSpPr>
          <p:nvPr/>
        </p:nvSpPr>
        <p:spPr bwMode="gray">
          <a:xfrm>
            <a:off x="0" y="404813"/>
            <a:ext cx="9144000" cy="323850"/>
          </a:xfrm>
          <a:prstGeom prst="rect">
            <a:avLst/>
          </a:prstGeom>
          <a:solidFill>
            <a:srgbClr val="FF6600"/>
          </a:solidFill>
          <a:ln>
            <a:noFill/>
          </a:ln>
          <a:effectLst/>
          <a:extLst/>
        </p:spPr>
        <p:txBody>
          <a:bodyPr wrap="none" lIns="54000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100">
                <a:solidFill>
                  <a:srgbClr val="FFFFFF"/>
                </a:solidFill>
                <a:latin typeface="Arial"/>
              </a:rPr>
              <a:t>www.osram-os.com</a:t>
            </a:r>
          </a:p>
        </p:txBody>
      </p:sp>
      <p:sp>
        <p:nvSpPr>
          <p:cNvPr id="5" name="Rectangle 18"/>
          <p:cNvSpPr>
            <a:spLocks noChangeArrowheads="1"/>
          </p:cNvSpPr>
          <p:nvPr/>
        </p:nvSpPr>
        <p:spPr bwMode="gray">
          <a:xfrm>
            <a:off x="7429500" y="981075"/>
            <a:ext cx="1439863" cy="28733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900" b="1">
                <a:solidFill>
                  <a:srgbClr val="E65D21"/>
                </a:solidFill>
                <a:latin typeface="Arial"/>
              </a:rPr>
              <a:t>КОНФИДЕНЦИАЛЬНО</a:t>
            </a:r>
          </a:p>
        </p:txBody>
      </p:sp>
      <p:pic>
        <p:nvPicPr>
          <p:cNvPr id="6" name="Picture 1" descr="\\FLS-SJC01\PCcommon\Marcom - Public\OS Logos 2013\New Logos October 2013\Office_Multimedia\OSRAM_OS_CorpLogo-RGBpos_2013.jpg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239000" y="5867400"/>
            <a:ext cx="15367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9939" name="Rectangle 3"/>
          <p:cNvSpPr>
            <a:spLocks noGrp="1" noChangeArrowheads="1"/>
          </p:cNvSpPr>
          <p:nvPr>
            <p:ph type="ctrTitle"/>
          </p:nvPr>
        </p:nvSpPr>
        <p:spPr bwMode="gray">
          <a:xfrm>
            <a:off x="539750" y="2647950"/>
            <a:ext cx="8064500" cy="996950"/>
          </a:xfrm>
        </p:spPr>
        <p:txBody>
          <a:bodyPr/>
          <a:lstStyle>
            <a:lvl1pPr>
              <a:defRPr sz="3000"/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en-GB" noProof="0" smtClean="0"/>
          </a:p>
        </p:txBody>
      </p:sp>
      <p:sp>
        <p:nvSpPr>
          <p:cNvPr id="39940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39750" y="3789363"/>
            <a:ext cx="6119813" cy="2570162"/>
          </a:xfrm>
        </p:spPr>
        <p:txBody>
          <a:bodyPr anchor="b"/>
          <a:lstStyle>
            <a:lvl1pPr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  <a:endParaRPr lang="en-GB" noProof="0" smtClean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(Cobra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5"/>
          <p:cNvSpPr txBox="1">
            <a:spLocks noChangeArrowheads="1"/>
          </p:cNvSpPr>
          <p:nvPr/>
        </p:nvSpPr>
        <p:spPr bwMode="gray">
          <a:xfrm>
            <a:off x="0" y="404813"/>
            <a:ext cx="9144000" cy="323850"/>
          </a:xfrm>
          <a:prstGeom prst="rect">
            <a:avLst/>
          </a:prstGeom>
          <a:solidFill>
            <a:srgbClr val="FF6600"/>
          </a:solidFill>
          <a:ln>
            <a:noFill/>
          </a:ln>
          <a:effectLst/>
          <a:extLst/>
        </p:spPr>
        <p:txBody>
          <a:bodyPr wrap="none" lIns="54000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100">
                <a:solidFill>
                  <a:srgbClr val="FFFFFF"/>
                </a:solidFill>
                <a:latin typeface="Arial"/>
              </a:rPr>
              <a:t>www.osram-os.com</a:t>
            </a:r>
          </a:p>
        </p:txBody>
      </p:sp>
      <p:sp>
        <p:nvSpPr>
          <p:cNvPr id="5" name="Rectangle 18"/>
          <p:cNvSpPr>
            <a:spLocks noChangeArrowheads="1"/>
          </p:cNvSpPr>
          <p:nvPr/>
        </p:nvSpPr>
        <p:spPr bwMode="gray">
          <a:xfrm>
            <a:off x="7429500" y="981075"/>
            <a:ext cx="1439863" cy="28733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900" b="1">
                <a:solidFill>
                  <a:srgbClr val="E65D21"/>
                </a:solidFill>
                <a:latin typeface="Arial"/>
              </a:rPr>
              <a:t>КОНФИДЕНЦИАЛЬНО</a:t>
            </a:r>
          </a:p>
        </p:txBody>
      </p:sp>
      <p:pic>
        <p:nvPicPr>
          <p:cNvPr id="6" name="Picture 1" descr="\\FLS-SJC01\PCcommon\Marcom - Public\OS Logos 2013\New Logos October 2013\Office_Multimedia\OSRAM_OS_CorpLogo-RGBpos_2013.jpg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239000" y="5867400"/>
            <a:ext cx="15367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9939" name="Rectangle 3"/>
          <p:cNvSpPr>
            <a:spLocks noGrp="1" noChangeArrowheads="1"/>
          </p:cNvSpPr>
          <p:nvPr>
            <p:ph type="ctrTitle"/>
          </p:nvPr>
        </p:nvSpPr>
        <p:spPr bwMode="gray">
          <a:xfrm>
            <a:off x="539750" y="2647950"/>
            <a:ext cx="8064500" cy="996950"/>
          </a:xfrm>
        </p:spPr>
        <p:txBody>
          <a:bodyPr/>
          <a:lstStyle>
            <a:lvl1pPr>
              <a:defRPr sz="3000"/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en-GB" noProof="0" smtClean="0"/>
          </a:p>
        </p:txBody>
      </p:sp>
      <p:sp>
        <p:nvSpPr>
          <p:cNvPr id="39940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39750" y="3789363"/>
            <a:ext cx="6119813" cy="763200"/>
          </a:xfrm>
        </p:spPr>
        <p:txBody>
          <a:bodyPr anchor="b"/>
          <a:lstStyle>
            <a:lvl1pPr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  <a:endParaRPr lang="en-GB" noProof="0" smtClean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8CD6E7DB-B3A9-460F-A8BC-1006D46B6DF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9749" y="1357340"/>
            <a:ext cx="3960813" cy="4807964"/>
          </a:xfrm>
          <a:noFill/>
          <a:ln>
            <a:noFill/>
          </a:ln>
          <a:effectLst/>
          <a:extLst/>
        </p:spPr>
        <p:txBody>
          <a:bodyPr/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en-GB"/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3438" y="1357340"/>
            <a:ext cx="3960812" cy="4807964"/>
          </a:xfrm>
          <a:noFill/>
          <a:ln>
            <a:noFill/>
          </a:ln>
          <a:effectLst/>
          <a:extLst/>
        </p:spPr>
        <p:txBody>
          <a:bodyPr/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en-GB"/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4F4AE61D-57E0-428E-A6F2-C422B13B9E3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3318BBAA-A428-4A41-A1CE-2F8865690455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9144000" cy="6308725"/>
          </a:xfr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4857751"/>
            <a:ext cx="8064500" cy="1101724"/>
          </a:xfrm>
          <a:noFill/>
          <a:ln>
            <a:noFill/>
          </a:ln>
          <a:effectLst/>
          <a:extLst/>
        </p:spPr>
        <p:txBody>
          <a:bodyPr anchor="b"/>
          <a:lstStyle>
            <a:lvl1pPr>
              <a:defRPr lang="en-GB" sz="2400" kern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5" name="Datumsplatzhalter 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de-DE"/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8788A366-9F94-4739-9F7F-FE91492DB54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5"/>
          <p:cNvSpPr txBox="1">
            <a:spLocks noChangeArrowheads="1"/>
          </p:cNvSpPr>
          <p:nvPr/>
        </p:nvSpPr>
        <p:spPr bwMode="gray">
          <a:xfrm>
            <a:off x="0" y="404813"/>
            <a:ext cx="9144000" cy="3238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lIns="540000" tIns="0" rIns="0" bIns="0" anchor="ctr"/>
          <a:lstStyle/>
          <a:p>
            <a:pPr>
              <a:defRPr/>
            </a:pPr>
            <a:r>
              <a:rPr lang="en-US" sz="1100" dirty="0">
                <a:solidFill>
                  <a:schemeClr val="bg1"/>
                </a:solidFill>
              </a:rPr>
              <a:t>www.osram-os.com</a:t>
            </a:r>
            <a:endParaRPr lang="ru-RU" sz="1100" dirty="0">
              <a:solidFill>
                <a:schemeClr val="bg1"/>
              </a:solidFill>
            </a:endParaRPr>
          </a:p>
        </p:txBody>
      </p:sp>
      <p:pic>
        <p:nvPicPr>
          <p:cNvPr id="5" name="Bild 1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62825" y="6021388"/>
            <a:ext cx="1231900" cy="484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9939" name="Rectangle 3"/>
          <p:cNvSpPr>
            <a:spLocks noGrp="1" noChangeArrowheads="1"/>
          </p:cNvSpPr>
          <p:nvPr>
            <p:ph type="ctrTitle"/>
          </p:nvPr>
        </p:nvSpPr>
        <p:spPr bwMode="gray">
          <a:xfrm>
            <a:off x="539750" y="2647950"/>
            <a:ext cx="8064500" cy="996950"/>
          </a:xfrm>
        </p:spPr>
        <p:txBody>
          <a:bodyPr/>
          <a:lstStyle>
            <a:lvl1pPr>
              <a:defRPr sz="3000"/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en-US" noProof="0" smtClean="0"/>
          </a:p>
        </p:txBody>
      </p:sp>
      <p:sp>
        <p:nvSpPr>
          <p:cNvPr id="39940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39750" y="3789363"/>
            <a:ext cx="6119813" cy="2570162"/>
          </a:xfrm>
        </p:spPr>
        <p:txBody>
          <a:bodyPr anchor="b"/>
          <a:lstStyle>
            <a:lvl1pPr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  <a:endParaRPr lang="en-US" noProof="0" smtClean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9144000" cy="5516563"/>
          </a:xfr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39750" y="5517232"/>
            <a:ext cx="3960813" cy="792088"/>
          </a:xfrm>
          <a:noFill/>
          <a:ln>
            <a:noFill/>
          </a:ln>
          <a:effectLst/>
          <a:extLst/>
        </p:spPr>
        <p:txBody>
          <a:bodyPr tIns="36000"/>
          <a:lstStyle>
            <a:lvl1pPr>
              <a:lnSpc>
                <a:spcPct val="100000"/>
              </a:lnSpc>
              <a:defRPr lang="en-GB" sz="1500" b="0" kern="1200" noProof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defRPr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gray">
          <a:xfrm>
            <a:off x="4643438" y="5516563"/>
            <a:ext cx="3960812" cy="792162"/>
          </a:xfrm>
          <a:noFill/>
          <a:ln>
            <a:noFill/>
          </a:ln>
          <a:effectLst/>
          <a:extLst/>
        </p:spPr>
        <p:txBody>
          <a:bodyPr tIns="36000"/>
          <a:lstStyle>
            <a:lvl1pPr>
              <a:lnSpc>
                <a:spcPct val="100000"/>
              </a:lnSpc>
              <a:defRPr lang="en-GB" sz="1500" b="0" kern="1200" noProof="0" smtClean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5" name="Datumsplatzhalter 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de-DE"/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00A0389F-E7A0-4876-8960-F9C4142B37B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4E5C9F6E-ECD4-47FD-87FC-0D79C89EB65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8"/>
          <p:cNvGrpSpPr>
            <a:grpSpLocks/>
          </p:cNvGrpSpPr>
          <p:nvPr/>
        </p:nvGrpSpPr>
        <p:grpSpPr bwMode="auto">
          <a:xfrm>
            <a:off x="0" y="404813"/>
            <a:ext cx="9140825" cy="323850"/>
            <a:chOff x="0" y="255"/>
            <a:chExt cx="5758" cy="204"/>
          </a:xfrm>
        </p:grpSpPr>
        <p:sp>
          <p:nvSpPr>
            <p:cNvPr id="5" name="Rectangle 24"/>
            <p:cNvSpPr>
              <a:spLocks noChangeArrowheads="1"/>
            </p:cNvSpPr>
            <p:nvPr/>
          </p:nvSpPr>
          <p:spPr bwMode="gray">
            <a:xfrm>
              <a:off x="0" y="255"/>
              <a:ext cx="5758" cy="204"/>
            </a:xfrm>
            <a:prstGeom prst="rect">
              <a:avLst/>
            </a:prstGeom>
            <a:solidFill>
              <a:srgbClr val="FF66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de-DE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6" name="Text Box 25"/>
            <p:cNvSpPr txBox="1">
              <a:spLocks noChangeArrowheads="1"/>
            </p:cNvSpPr>
            <p:nvPr/>
          </p:nvSpPr>
          <p:spPr bwMode="gray">
            <a:xfrm>
              <a:off x="340" y="255"/>
              <a:ext cx="2495" cy="2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>
                <a:buSzPct val="100000"/>
                <a:defRPr/>
              </a:pPr>
              <a:r>
                <a:rPr lang="en-GB" sz="1100">
                  <a:solidFill>
                    <a:srgbClr val="FFFFFF"/>
                  </a:solidFill>
                  <a:latin typeface="Arial"/>
                </a:rPr>
                <a:t>www.osram-os.com</a:t>
              </a:r>
            </a:p>
          </p:txBody>
        </p:sp>
      </p:grpSp>
      <p:pic>
        <p:nvPicPr>
          <p:cNvPr id="7" name="Picture 1" descr="\\FLS-SJC01\PCcommon\Marcom - Public\OS Logos 2013\New Logos October 2013\Office_Multimedia\OSRAM_OS_CorpLogo-RGBpos_2013.jpg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239000" y="5867400"/>
            <a:ext cx="15367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99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539750" y="2647950"/>
            <a:ext cx="8064500" cy="996950"/>
          </a:xfrm>
        </p:spPr>
        <p:txBody>
          <a:bodyPr/>
          <a:lstStyle>
            <a:lvl1pPr>
              <a:defRPr sz="3000"/>
            </a:lvl1pPr>
          </a:lstStyle>
          <a:p>
            <a:r>
              <a:rPr lang="en-GB"/>
              <a:t>Titelmasterformat durch Klicken bearbeiten</a:t>
            </a:r>
          </a:p>
        </p:txBody>
      </p:sp>
      <p:sp>
        <p:nvSpPr>
          <p:cNvPr id="399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539750" y="3789363"/>
            <a:ext cx="6119813" cy="2570162"/>
          </a:xfrm>
        </p:spPr>
        <p:txBody>
          <a:bodyPr anchor="b"/>
          <a:lstStyle>
            <a:lvl1pPr>
              <a:defRPr sz="1500" b="0">
                <a:solidFill>
                  <a:schemeClr val="tx1"/>
                </a:solidFill>
              </a:defRPr>
            </a:lvl1pPr>
          </a:lstStyle>
          <a:p>
            <a:r>
              <a:rPr lang="en-GB"/>
              <a:t>Formatvorlage des Untertitelmasters durch Klicken bearbeiten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884238" y="6411913"/>
            <a:ext cx="6280150" cy="163512"/>
          </a:xfrm>
        </p:spPr>
        <p:txBody>
          <a:bodyPr/>
          <a:lstStyle>
            <a:lvl1pPr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884238" y="6578600"/>
            <a:ext cx="6280150" cy="163513"/>
          </a:xfrm>
        </p:spPr>
        <p:txBody>
          <a:bodyPr/>
          <a:lstStyle>
            <a:lvl1pPr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539750" y="6411913"/>
            <a:ext cx="285750" cy="163512"/>
          </a:xfr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E6B33D64-D95E-4E50-8E29-022D216665F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884238" y="6411913"/>
            <a:ext cx="6280150" cy="163512"/>
          </a:xfrm>
        </p:spPr>
        <p:txBody>
          <a:bodyPr/>
          <a:lstStyle>
            <a:lvl1pPr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884238" y="6578600"/>
            <a:ext cx="6280150" cy="163513"/>
          </a:xfrm>
        </p:spPr>
        <p:txBody>
          <a:bodyPr/>
          <a:lstStyle>
            <a:lvl1pPr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539750" y="6411913"/>
            <a:ext cx="285750" cy="163512"/>
          </a:xfr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C1F3E054-0DA6-4F5D-A6C3-FDDD3BDECE2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9750" y="1341438"/>
            <a:ext cx="395605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341438"/>
            <a:ext cx="395605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884238" y="6411913"/>
            <a:ext cx="6280150" cy="163512"/>
          </a:xfrm>
        </p:spPr>
        <p:txBody>
          <a:bodyPr/>
          <a:lstStyle>
            <a:lvl1pPr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884238" y="6578600"/>
            <a:ext cx="6280150" cy="163513"/>
          </a:xfrm>
        </p:spPr>
        <p:txBody>
          <a:bodyPr/>
          <a:lstStyle>
            <a:lvl1pPr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539750" y="6411913"/>
            <a:ext cx="285750" cy="163512"/>
          </a:xfr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D3F11FB5-99F3-4921-B2F3-8EA9DE148D6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>
          <a:xfrm>
            <a:off x="884238" y="6411913"/>
            <a:ext cx="6280150" cy="163512"/>
          </a:xfrm>
        </p:spPr>
        <p:txBody>
          <a:bodyPr/>
          <a:lstStyle>
            <a:lvl1pPr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en-GB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>
          <a:xfrm>
            <a:off x="884238" y="6578600"/>
            <a:ext cx="6280150" cy="163513"/>
          </a:xfrm>
        </p:spPr>
        <p:txBody>
          <a:bodyPr/>
          <a:lstStyle>
            <a:lvl1pPr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en-GB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>
          <a:xfrm>
            <a:off x="539750" y="6411913"/>
            <a:ext cx="285750" cy="163512"/>
          </a:xfr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07257534-A6EB-497C-BF0A-D73DDD19E79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884238" y="6411913"/>
            <a:ext cx="6280150" cy="163512"/>
          </a:xfrm>
        </p:spPr>
        <p:txBody>
          <a:bodyPr/>
          <a:lstStyle>
            <a:lvl1pPr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884238" y="6578600"/>
            <a:ext cx="6280150" cy="163513"/>
          </a:xfrm>
        </p:spPr>
        <p:txBody>
          <a:bodyPr/>
          <a:lstStyle>
            <a:lvl1pPr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539750" y="6411913"/>
            <a:ext cx="285750" cy="163512"/>
          </a:xfr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1BAF5F81-3673-468B-8E89-0520AF1C3DC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884238" y="6411913"/>
            <a:ext cx="6280150" cy="163512"/>
          </a:xfrm>
        </p:spPr>
        <p:txBody>
          <a:bodyPr/>
          <a:lstStyle>
            <a:lvl1pPr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en-GB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884238" y="6578600"/>
            <a:ext cx="6280150" cy="163513"/>
          </a:xfrm>
        </p:spPr>
        <p:txBody>
          <a:bodyPr/>
          <a:lstStyle>
            <a:lvl1pPr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539750" y="6411913"/>
            <a:ext cx="285750" cy="163512"/>
          </a:xfr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56010F86-82E5-400D-98EE-DE82C49E47C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884238" y="6411913"/>
            <a:ext cx="6280150" cy="163512"/>
          </a:xfrm>
        </p:spPr>
        <p:txBody>
          <a:bodyPr/>
          <a:lstStyle>
            <a:lvl1pPr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884238" y="6578600"/>
            <a:ext cx="6280150" cy="163513"/>
          </a:xfrm>
        </p:spPr>
        <p:txBody>
          <a:bodyPr/>
          <a:lstStyle>
            <a:lvl1pPr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539750" y="6411913"/>
            <a:ext cx="285750" cy="163512"/>
          </a:xfr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2159FBEA-F43C-44E8-B865-42426D49875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884238" y="6411913"/>
            <a:ext cx="6280150" cy="163512"/>
          </a:xfrm>
        </p:spPr>
        <p:txBody>
          <a:bodyPr/>
          <a:lstStyle>
            <a:lvl1pPr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884238" y="6578600"/>
            <a:ext cx="6280150" cy="163513"/>
          </a:xfrm>
        </p:spPr>
        <p:txBody>
          <a:bodyPr/>
          <a:lstStyle>
            <a:lvl1pPr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539750" y="6411913"/>
            <a:ext cx="285750" cy="163512"/>
          </a:xfr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C71C436C-C4BD-459D-8C7A-6A0E72B4078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884238" y="6411913"/>
            <a:ext cx="6280150" cy="163512"/>
          </a:xfrm>
        </p:spPr>
        <p:txBody>
          <a:bodyPr/>
          <a:lstStyle>
            <a:lvl1pPr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884238" y="6578600"/>
            <a:ext cx="6280150" cy="163513"/>
          </a:xfrm>
        </p:spPr>
        <p:txBody>
          <a:bodyPr/>
          <a:lstStyle>
            <a:lvl1pPr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539750" y="6411913"/>
            <a:ext cx="285750" cy="163512"/>
          </a:xfr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DB3BB3D9-3D3C-44AC-BBB6-6568A3094A8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88125" y="311150"/>
            <a:ext cx="2016125" cy="5854700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39750" y="311150"/>
            <a:ext cx="5895975" cy="5854700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884238" y="6411913"/>
            <a:ext cx="6280150" cy="163512"/>
          </a:xfrm>
        </p:spPr>
        <p:txBody>
          <a:bodyPr/>
          <a:lstStyle>
            <a:lvl1pPr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884238" y="6578600"/>
            <a:ext cx="6280150" cy="163513"/>
          </a:xfrm>
        </p:spPr>
        <p:txBody>
          <a:bodyPr/>
          <a:lstStyle>
            <a:lvl1pPr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539750" y="6411913"/>
            <a:ext cx="285750" cy="163512"/>
          </a:xfr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3E4EE3A1-55AF-4142-8ED3-6B47D1DB64C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9144000" cy="6308725"/>
          </a:xfr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4857751"/>
            <a:ext cx="8064500" cy="1101724"/>
          </a:xfrm>
          <a:noFill/>
          <a:ln>
            <a:noFill/>
          </a:ln>
          <a:effectLst/>
          <a:extLst/>
        </p:spPr>
        <p:txBody>
          <a:bodyPr anchor="b"/>
          <a:lstStyle>
            <a:lvl1pPr>
              <a:defRPr lang="en-GB" sz="2400" kern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5"/>
          </p:nvPr>
        </p:nvSpPr>
        <p:spPr/>
        <p:txBody>
          <a:bodyPr/>
          <a:lstStyle>
            <a:lvl1pPr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6"/>
          </p:nvPr>
        </p:nvSpPr>
        <p:spPr/>
        <p:txBody>
          <a:bodyPr/>
          <a:lstStyle>
            <a:lvl1pPr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de-DE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F051458-B045-4386-A3EA-94FB46BC4EFD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5"/>
          <p:cNvSpPr txBox="1">
            <a:spLocks noChangeArrowheads="1"/>
          </p:cNvSpPr>
          <p:nvPr/>
        </p:nvSpPr>
        <p:spPr bwMode="gray">
          <a:xfrm>
            <a:off x="0" y="404813"/>
            <a:ext cx="9144000" cy="323850"/>
          </a:xfrm>
          <a:prstGeom prst="rect">
            <a:avLst/>
          </a:prstGeom>
          <a:solidFill>
            <a:srgbClr val="FF6600"/>
          </a:solidFill>
          <a:ln>
            <a:noFill/>
          </a:ln>
          <a:effectLst/>
          <a:extLst/>
        </p:spPr>
        <p:txBody>
          <a:bodyPr wrap="none" lIns="54000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100">
                <a:solidFill>
                  <a:srgbClr val="FFFFFF"/>
                </a:solidFill>
                <a:latin typeface="Arial"/>
              </a:rPr>
              <a:t>www.osram-os.com</a:t>
            </a:r>
          </a:p>
        </p:txBody>
      </p:sp>
      <p:pic>
        <p:nvPicPr>
          <p:cNvPr id="5" name="Picture 1" descr="\\FLS-SJC01\PCcommon\Marcom - Public\OS Logos 2013\New Logos October 2013\Office_Multimedia\OSRAM_OS_CorpLogo-RGBpos_2013.jpg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239000" y="5867400"/>
            <a:ext cx="15367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9939" name="Rectangle 3"/>
          <p:cNvSpPr>
            <a:spLocks noGrp="1" noChangeArrowheads="1"/>
          </p:cNvSpPr>
          <p:nvPr>
            <p:ph type="ctrTitle"/>
          </p:nvPr>
        </p:nvSpPr>
        <p:spPr bwMode="gray">
          <a:xfrm>
            <a:off x="539750" y="2647950"/>
            <a:ext cx="8064500" cy="996950"/>
          </a:xfrm>
        </p:spPr>
        <p:txBody>
          <a:bodyPr/>
          <a:lstStyle>
            <a:lvl1pPr>
              <a:defRPr sz="300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smtClean="0"/>
          </a:p>
        </p:txBody>
      </p:sp>
      <p:sp>
        <p:nvSpPr>
          <p:cNvPr id="39940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39750" y="3789363"/>
            <a:ext cx="6119813" cy="2570162"/>
          </a:xfrm>
        </p:spPr>
        <p:txBody>
          <a:bodyPr anchor="b"/>
          <a:lstStyle>
            <a:lvl1pPr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067ED6-33DD-4BA7-88A2-7E60B751B68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de-DE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>
              <a:defRPr smtClean="0"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de-DE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5"/>
          <p:cNvSpPr txBox="1">
            <a:spLocks noChangeArrowheads="1"/>
          </p:cNvSpPr>
          <p:nvPr/>
        </p:nvSpPr>
        <p:spPr bwMode="gray">
          <a:xfrm>
            <a:off x="0" y="404813"/>
            <a:ext cx="9144000" cy="323850"/>
          </a:xfrm>
          <a:prstGeom prst="rect">
            <a:avLst/>
          </a:prstGeom>
          <a:solidFill>
            <a:srgbClr val="FF6600"/>
          </a:solidFill>
          <a:ln>
            <a:noFill/>
          </a:ln>
          <a:effectLst/>
          <a:extLst/>
        </p:spPr>
        <p:txBody>
          <a:bodyPr wrap="none" lIns="54000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100">
                <a:solidFill>
                  <a:srgbClr val="FFFFFF"/>
                </a:solidFill>
                <a:latin typeface="Arial"/>
              </a:rPr>
              <a:t>www.osram-os.com</a:t>
            </a:r>
          </a:p>
        </p:txBody>
      </p:sp>
      <p:pic>
        <p:nvPicPr>
          <p:cNvPr id="5" name="Picture 1" descr="\\FLS-SJC01\PCcommon\Marcom - Public\OS Logos 2013\New Logos October 2013\Office_Multimedia\OSRAM_OS_CorpLogo-RGBpos_2013.jpg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239000" y="5867400"/>
            <a:ext cx="15367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9939" name="Rectangle 3"/>
          <p:cNvSpPr>
            <a:spLocks noGrp="1" noChangeArrowheads="1"/>
          </p:cNvSpPr>
          <p:nvPr>
            <p:ph type="ctrTitle"/>
          </p:nvPr>
        </p:nvSpPr>
        <p:spPr bwMode="gray">
          <a:xfrm>
            <a:off x="539750" y="2647950"/>
            <a:ext cx="8064500" cy="996950"/>
          </a:xfrm>
        </p:spPr>
        <p:txBody>
          <a:bodyPr/>
          <a:lstStyle>
            <a:lvl1pPr>
              <a:defRPr sz="300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smtClean="0"/>
          </a:p>
        </p:txBody>
      </p:sp>
      <p:sp>
        <p:nvSpPr>
          <p:cNvPr id="39940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39750" y="3789363"/>
            <a:ext cx="6119813" cy="763200"/>
          </a:xfrm>
        </p:spPr>
        <p:txBody>
          <a:bodyPr anchor="b"/>
          <a:lstStyle>
            <a:lvl1pPr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\\FLS-SJC01\PCcommon\Marcom - Public\OS Logos 2013\New Logos October 2013\Office_Multimedia\OSRAM_OS_CorpLogo-RGBpos_2013.jpg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239000" y="5867400"/>
            <a:ext cx="15367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 bwMode="gray">
          <a:xfrm>
            <a:off x="0" y="0"/>
            <a:ext cx="9144000" cy="6857999"/>
          </a:xfrm>
          <a:custGeom>
            <a:avLst/>
            <a:gdLst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59644 w 9144000"/>
              <a:gd name="connsiteY5" fmla="*/ 2596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84356 w 9144000"/>
              <a:gd name="connsiteY8" fmla="*/ 259644 h 6857999"/>
              <a:gd name="connsiteX9" fmla="*/ 259644 w 9144000"/>
              <a:gd name="connsiteY9" fmla="*/ 259644 h 6857999"/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59644 w 9144000"/>
              <a:gd name="connsiteY5" fmla="*/ 48748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84356 w 9144000"/>
              <a:gd name="connsiteY8" fmla="*/ 259644 h 6857999"/>
              <a:gd name="connsiteX9" fmla="*/ 259644 w 9144000"/>
              <a:gd name="connsiteY9" fmla="*/ 4874844 h 6857999"/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59644 w 9144000"/>
              <a:gd name="connsiteY5" fmla="*/ 48748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77156 w 9144000"/>
              <a:gd name="connsiteY8" fmla="*/ 4666044 h 6857999"/>
              <a:gd name="connsiteX9" fmla="*/ 259644 w 9144000"/>
              <a:gd name="connsiteY9" fmla="*/ 4874844 h 6857999"/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59644 w 9144000"/>
              <a:gd name="connsiteY5" fmla="*/ 48748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77156 w 9144000"/>
              <a:gd name="connsiteY8" fmla="*/ 4284444 h 6857999"/>
              <a:gd name="connsiteX9" fmla="*/ 259644 w 9144000"/>
              <a:gd name="connsiteY9" fmla="*/ 4874844 h 6857999"/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66844 w 9144000"/>
              <a:gd name="connsiteY5" fmla="*/ 42844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77156 w 9144000"/>
              <a:gd name="connsiteY8" fmla="*/ 4284444 h 6857999"/>
              <a:gd name="connsiteX9" fmla="*/ 266844 w 9144000"/>
              <a:gd name="connsiteY9" fmla="*/ 4284444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44000" h="6857999">
                <a:moveTo>
                  <a:pt x="0" y="0"/>
                </a:moveTo>
                <a:lnTo>
                  <a:pt x="9144000" y="0"/>
                </a:lnTo>
                <a:lnTo>
                  <a:pt x="9144000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266844" y="4284444"/>
                </a:moveTo>
                <a:lnTo>
                  <a:pt x="259644" y="6598355"/>
                </a:lnTo>
                <a:lnTo>
                  <a:pt x="8884356" y="6598355"/>
                </a:lnTo>
                <a:lnTo>
                  <a:pt x="8877156" y="4284444"/>
                </a:lnTo>
                <a:lnTo>
                  <a:pt x="266844" y="4284444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anchor="ctr"/>
          <a:lstStyle>
            <a:lvl1pPr algn="ctr">
              <a:defRPr b="0"/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39939" name="Rectangle 3"/>
          <p:cNvSpPr>
            <a:spLocks noGrp="1" noChangeArrowheads="1"/>
          </p:cNvSpPr>
          <p:nvPr>
            <p:ph type="ctrTitle"/>
          </p:nvPr>
        </p:nvSpPr>
        <p:spPr bwMode="gray">
          <a:xfrm>
            <a:off x="539750" y="4508501"/>
            <a:ext cx="8064500" cy="996950"/>
          </a:xfrm>
        </p:spPr>
        <p:txBody>
          <a:bodyPr/>
          <a:lstStyle>
            <a:lvl1pPr>
              <a:lnSpc>
                <a:spcPct val="100000"/>
              </a:lnSpc>
              <a:defRPr sz="3000"/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en-GB" noProof="0" dirty="0" smtClean="0"/>
          </a:p>
        </p:txBody>
      </p:sp>
      <p:sp>
        <p:nvSpPr>
          <p:cNvPr id="39940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39750" y="5661248"/>
            <a:ext cx="6119813" cy="698276"/>
          </a:xfrm>
        </p:spPr>
        <p:txBody>
          <a:bodyPr anchor="b"/>
          <a:lstStyle>
            <a:lvl1pPr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 bwMode="gray">
          <a:xfrm>
            <a:off x="0" y="404813"/>
            <a:ext cx="9144000" cy="324000"/>
          </a:xfrm>
          <a:solidFill>
            <a:srgbClr val="FF6600"/>
          </a:solidFill>
          <a:ln>
            <a:noFill/>
          </a:ln>
        </p:spPr>
        <p:txBody>
          <a:bodyPr lIns="540000" anchor="ctr"/>
          <a:lstStyle>
            <a:lvl1pPr>
              <a:lnSpc>
                <a:spcPct val="100000"/>
              </a:lnSpc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ith Picture (Cobra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\\FLS-SJC01\PCcommon\Marcom - Public\OS Logos 2013\New Logos October 2013\Office_Multimedia\OSRAM_OS_CorpLogo-RGBpos_2013.jpg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239000" y="5867400"/>
            <a:ext cx="15367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 bwMode="gray">
          <a:xfrm>
            <a:off x="0" y="0"/>
            <a:ext cx="9144000" cy="6857999"/>
          </a:xfrm>
          <a:custGeom>
            <a:avLst/>
            <a:gdLst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59644 w 9144000"/>
              <a:gd name="connsiteY5" fmla="*/ 2596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84356 w 9144000"/>
              <a:gd name="connsiteY8" fmla="*/ 259644 h 6857999"/>
              <a:gd name="connsiteX9" fmla="*/ 259644 w 9144000"/>
              <a:gd name="connsiteY9" fmla="*/ 259644 h 6857999"/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59644 w 9144000"/>
              <a:gd name="connsiteY5" fmla="*/ 48748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84356 w 9144000"/>
              <a:gd name="connsiteY8" fmla="*/ 259644 h 6857999"/>
              <a:gd name="connsiteX9" fmla="*/ 259644 w 9144000"/>
              <a:gd name="connsiteY9" fmla="*/ 4874844 h 6857999"/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59644 w 9144000"/>
              <a:gd name="connsiteY5" fmla="*/ 48748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77156 w 9144000"/>
              <a:gd name="connsiteY8" fmla="*/ 4666044 h 6857999"/>
              <a:gd name="connsiteX9" fmla="*/ 259644 w 9144000"/>
              <a:gd name="connsiteY9" fmla="*/ 4874844 h 6857999"/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59644 w 9144000"/>
              <a:gd name="connsiteY5" fmla="*/ 48748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77156 w 9144000"/>
              <a:gd name="connsiteY8" fmla="*/ 4284444 h 6857999"/>
              <a:gd name="connsiteX9" fmla="*/ 259644 w 9144000"/>
              <a:gd name="connsiteY9" fmla="*/ 4874844 h 6857999"/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66844 w 9144000"/>
              <a:gd name="connsiteY5" fmla="*/ 42844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77156 w 9144000"/>
              <a:gd name="connsiteY8" fmla="*/ 4284444 h 6857999"/>
              <a:gd name="connsiteX9" fmla="*/ 266844 w 9144000"/>
              <a:gd name="connsiteY9" fmla="*/ 4284444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44000" h="6857999">
                <a:moveTo>
                  <a:pt x="0" y="0"/>
                </a:moveTo>
                <a:lnTo>
                  <a:pt x="9144000" y="0"/>
                </a:lnTo>
                <a:lnTo>
                  <a:pt x="9144000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266844" y="4284444"/>
                </a:moveTo>
                <a:lnTo>
                  <a:pt x="259644" y="6598355"/>
                </a:lnTo>
                <a:lnTo>
                  <a:pt x="8884356" y="6598355"/>
                </a:lnTo>
                <a:lnTo>
                  <a:pt x="8877156" y="4284444"/>
                </a:lnTo>
                <a:lnTo>
                  <a:pt x="266844" y="4284444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anchor="ctr"/>
          <a:lstStyle>
            <a:lvl1pPr algn="ctr">
              <a:defRPr b="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39939" name="Rectangle 3"/>
          <p:cNvSpPr>
            <a:spLocks noGrp="1" noChangeArrowheads="1"/>
          </p:cNvSpPr>
          <p:nvPr>
            <p:ph type="ctrTitle"/>
          </p:nvPr>
        </p:nvSpPr>
        <p:spPr bwMode="gray">
          <a:xfrm>
            <a:off x="539750" y="4508501"/>
            <a:ext cx="8064500" cy="936723"/>
          </a:xfrm>
        </p:spPr>
        <p:txBody>
          <a:bodyPr/>
          <a:lstStyle>
            <a:lvl1pPr>
              <a:lnSpc>
                <a:spcPct val="100000"/>
              </a:lnSpc>
              <a:defRPr sz="300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smtClean="0"/>
          </a:p>
        </p:txBody>
      </p:sp>
      <p:sp>
        <p:nvSpPr>
          <p:cNvPr id="39940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39750" y="5446800"/>
            <a:ext cx="6119813" cy="266400"/>
          </a:xfrm>
        </p:spPr>
        <p:txBody>
          <a:bodyPr anchor="b"/>
          <a:lstStyle>
            <a:lvl1pPr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 bwMode="gray">
          <a:xfrm>
            <a:off x="0" y="404813"/>
            <a:ext cx="9144000" cy="324000"/>
          </a:xfrm>
          <a:solidFill>
            <a:srgbClr val="FF6600"/>
          </a:solidFill>
          <a:ln>
            <a:noFill/>
          </a:ln>
        </p:spPr>
        <p:txBody>
          <a:bodyPr lIns="540000" anchor="ctr"/>
          <a:lstStyle>
            <a:lvl1pPr>
              <a:lnSpc>
                <a:spcPct val="100000"/>
              </a:lnSpc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 txBox="1">
            <a:spLocks/>
          </p:cNvSpPr>
          <p:nvPr/>
        </p:nvSpPr>
        <p:spPr bwMode="gray">
          <a:xfrm>
            <a:off x="539750" y="6411913"/>
            <a:ext cx="285750" cy="1635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CC62FA26-CF35-4CCC-A4D9-582E00626822}" type="slidenum">
              <a:rPr lang="en-GB" sz="900">
                <a:solidFill>
                  <a:srgbClr val="FF0000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900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gray">
          <a:xfrm>
            <a:off x="539750" y="311150"/>
            <a:ext cx="8064500" cy="8143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/>
          <a:lstStyle/>
          <a:p>
            <a:pPr>
              <a:lnSpc>
                <a:spcPct val="110000"/>
              </a:lnSpc>
              <a:defRPr/>
            </a:pPr>
            <a:endParaRPr lang="en-GB" sz="2400" b="1" kern="0" dirty="0">
              <a:solidFill>
                <a:srgbClr val="E65D21"/>
              </a:solidFill>
              <a:latin typeface="Arial"/>
            </a:endParaRP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39750" y="1341438"/>
            <a:ext cx="8064500" cy="482441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 dirty="0" smtClean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en-US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4A9457-67E1-4DE5-9D88-25418D8D202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33400" y="1371600"/>
            <a:ext cx="8077200" cy="4648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F9E5BB-7134-4D9B-9387-7D6B0E53CD8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9749" y="1357340"/>
            <a:ext cx="3960813" cy="4807964"/>
          </a:xfrm>
          <a:noFill/>
          <a:ln>
            <a:noFill/>
          </a:ln>
          <a:effectLst/>
          <a:extLst/>
        </p:spPr>
        <p:txBody>
          <a:bodyPr/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en-GB"/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3438" y="1357340"/>
            <a:ext cx="3960812" cy="4807964"/>
          </a:xfrm>
          <a:noFill/>
          <a:ln>
            <a:noFill/>
          </a:ln>
          <a:effectLst/>
          <a:extLst/>
        </p:spPr>
        <p:txBody>
          <a:bodyPr/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en-GB"/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Picture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/>
          <p:cNvSpPr>
            <a:spLocks noChangeArrowheads="1"/>
          </p:cNvSpPr>
          <p:nvPr/>
        </p:nvSpPr>
        <p:spPr bwMode="gray">
          <a:xfrm>
            <a:off x="539750" y="4857750"/>
            <a:ext cx="8064500" cy="1101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defRPr/>
            </a:pPr>
            <a:r>
              <a:rPr lang="en-GB" sz="2400" b="1">
                <a:solidFill>
                  <a:srgbClr val="FFFFFF"/>
                </a:solidFill>
                <a:latin typeface="Arial"/>
              </a:rPr>
              <a:t>Гибкий заголовок</a:t>
            </a:r>
            <a:r>
              <a:rPr/>
              <a:t/>
            </a:r>
            <a:br>
              <a:rPr/>
            </a:br>
            <a:r>
              <a:rPr lang="en-GB" sz="2400" b="1">
                <a:solidFill>
                  <a:srgbClr val="FFFFFF"/>
                </a:solidFill>
                <a:latin typeface="Arial"/>
              </a:rPr>
              <a:t>вторая строка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5"/>
          </p:nvPr>
        </p:nvSpPr>
        <p:spPr>
          <a:xfrm>
            <a:off x="838200" y="4343400"/>
            <a:ext cx="7467600" cy="9906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24" name="Picture Placeholder 23"/>
          <p:cNvSpPr>
            <a:spLocks noGrp="1"/>
          </p:cNvSpPr>
          <p:nvPr>
            <p:ph type="pic" sz="quarter" idx="16"/>
          </p:nvPr>
        </p:nvSpPr>
        <p:spPr>
          <a:xfrm>
            <a:off x="381000" y="152400"/>
            <a:ext cx="8458200" cy="6019800"/>
          </a:xfrm>
        </p:spPr>
        <p:txBody>
          <a:bodyPr/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20"/>
          </p:nvPr>
        </p:nvSpPr>
        <p:spPr>
          <a:xfrm>
            <a:off x="3048000" y="2362200"/>
            <a:ext cx="1905000" cy="838200"/>
          </a:xfrm>
        </p:spPr>
        <p:txBody>
          <a:bodyPr/>
          <a:lstStyle/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7" name="Date Placeholder 10"/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en-US"/>
          </a:p>
        </p:txBody>
      </p:sp>
      <p:sp>
        <p:nvSpPr>
          <p:cNvPr id="8" name="Slide Number Placeholder 11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2C296C-703F-4E00-9895-B6A971181AF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Picture with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334000"/>
          </a:xfrm>
        </p:spPr>
        <p:txBody>
          <a:bodyPr/>
          <a:lstStyle/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152400" y="5410200"/>
            <a:ext cx="4267200" cy="60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572000" y="5410200"/>
            <a:ext cx="4267200" cy="60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en-US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8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FF0251-8B07-46EF-A984-F1D8146F90F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3"/>
          </p:nvPr>
        </p:nvSpPr>
        <p:spPr>
          <a:xfrm>
            <a:off x="685800" y="1524000"/>
            <a:ext cx="7924800" cy="2133600"/>
          </a:xfrm>
        </p:spPr>
        <p:txBody>
          <a:bodyPr/>
          <a:lstStyle/>
          <a:p>
            <a:pPr lvl="0"/>
            <a:r>
              <a:rPr lang="en-US" noProof="0" smtClean="0"/>
              <a:t>Click icon to add table</a:t>
            </a:r>
            <a:endParaRPr 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3034F9-5F12-468E-8B39-60708787F0B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8649BC-0D6A-44C8-AEFC-31463888E77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311150"/>
            <a:ext cx="7156450" cy="81438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9749" y="1357340"/>
            <a:ext cx="3960813" cy="4807964"/>
          </a:xfrm>
          <a:noFill/>
          <a:ln>
            <a:noFill/>
          </a:ln>
          <a:effectLst/>
          <a:extLst/>
        </p:spPr>
        <p:txBody>
          <a:bodyPr/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en-GB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3438" y="1357340"/>
            <a:ext cx="3960812" cy="4807964"/>
          </a:xfrm>
          <a:noFill/>
          <a:ln>
            <a:noFill/>
          </a:ln>
          <a:effectLst/>
          <a:extLst/>
        </p:spPr>
        <p:txBody>
          <a:bodyPr/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en-GB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2A8C77-4306-4D6A-8F17-5B669DE2B24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311150"/>
            <a:ext cx="8064500" cy="8143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1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0" y="1524000"/>
            <a:ext cx="3960812" cy="1676400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 dirty="0" smtClean="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533400" y="1524000"/>
            <a:ext cx="3733800" cy="1676400"/>
          </a:xfrm>
        </p:spPr>
        <p:txBody>
          <a:bodyPr/>
          <a:lstStyle/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533400" y="3962400"/>
            <a:ext cx="3733800" cy="1676400"/>
          </a:xfrm>
        </p:spPr>
        <p:txBody>
          <a:bodyPr/>
          <a:lstStyle/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20" name="Rectangle 3"/>
          <p:cNvSpPr>
            <a:spLocks noGrp="1" noChangeArrowheads="1"/>
          </p:cNvSpPr>
          <p:nvPr>
            <p:ph type="body" idx="15"/>
          </p:nvPr>
        </p:nvSpPr>
        <p:spPr>
          <a:xfrm>
            <a:off x="4648200" y="3962400"/>
            <a:ext cx="3960812" cy="1676400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 dirty="0" smtClean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/>
          </p:nvPr>
        </p:nvSpPr>
        <p:spPr>
          <a:xfrm>
            <a:off x="609600" y="5943600"/>
            <a:ext cx="3657600" cy="152400"/>
          </a:xfrm>
        </p:spPr>
        <p:txBody>
          <a:bodyPr/>
          <a:lstStyle>
            <a:lvl1pPr>
              <a:defRPr sz="1050" b="0" baseline="0"/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7"/>
          </p:nvPr>
        </p:nvSpPr>
        <p:spPr>
          <a:xfrm>
            <a:off x="533400" y="3352800"/>
            <a:ext cx="3657600" cy="152400"/>
          </a:xfrm>
        </p:spPr>
        <p:txBody>
          <a:bodyPr/>
          <a:lstStyle>
            <a:lvl1pPr>
              <a:defRPr sz="1050" b="0" baseline="0"/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dt" sz="half" idx="18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en-US" dirty="0"/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19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en-US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2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7A172A-650C-4559-BEB9-5F30123F3DE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643438" y="1341438"/>
            <a:ext cx="3960812" cy="48244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685800" y="1371600"/>
            <a:ext cx="3657600" cy="4114800"/>
          </a:xfrm>
        </p:spPr>
        <p:txBody>
          <a:bodyPr/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685800" y="5715000"/>
            <a:ext cx="3581400" cy="4572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en-US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en-US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8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0929B9-E0CA-4BF0-A2E4-421E8610174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3"/>
          </p:nvPr>
        </p:nvSpPr>
        <p:spPr>
          <a:xfrm>
            <a:off x="533400" y="1371600"/>
            <a:ext cx="8001000" cy="457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FB415C-98FD-4A23-998B-A7E0BC1D582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3"/>
          <p:cNvSpPr txBox="1">
            <a:spLocks/>
          </p:cNvSpPr>
          <p:nvPr/>
        </p:nvSpPr>
        <p:spPr bwMode="gray">
          <a:xfrm>
            <a:off x="884238" y="6411913"/>
            <a:ext cx="6280150" cy="1635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1">
                <a:solidFill>
                  <a:srgbClr val="58585A"/>
                </a:solidFill>
                <a:latin typeface="Arial"/>
              </a:rPr>
              <a:t>Имя файла | КОД ОРГ-ЦИИ | Инициал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 bwMode="gray">
          <a:xfrm>
            <a:off x="539750" y="6411913"/>
            <a:ext cx="285750" cy="1635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F126383E-E803-4305-B34C-E1D620011D1C}" type="slidenum">
              <a:rPr lang="en-GB" sz="900">
                <a:solidFill>
                  <a:srgbClr val="FF0000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900">
              <a:solidFill>
                <a:srgbClr val="FF0000"/>
              </a:solidFill>
              <a:latin typeface="Arial"/>
            </a:endParaRP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gray">
          <a:xfrm>
            <a:off x="4643438" y="1989138"/>
            <a:ext cx="3960812" cy="4032250"/>
          </a:xfrm>
          <a:prstGeom prst="rect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</p:spPr>
        <p:txBody>
          <a:bodyPr lIns="90000" tIns="82800" rIns="90000" bIns="46800"/>
          <a:lstStyle/>
          <a:p>
            <a:pPr fontAlgn="auto">
              <a:lnSpc>
                <a:spcPct val="110000"/>
              </a:lnSpc>
              <a:spcBef>
                <a:spcPct val="5000"/>
              </a:spcBef>
              <a:spcAft>
                <a:spcPts val="0"/>
              </a:spcAft>
              <a:buSzPct val="100000"/>
              <a:defRPr/>
            </a:pPr>
            <a:endParaRPr lang="en-GB" sz="15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AutoShape 5"/>
          <p:cNvSpPr>
            <a:spLocks noChangeArrowheads="1"/>
          </p:cNvSpPr>
          <p:nvPr/>
        </p:nvSpPr>
        <p:spPr bwMode="gray">
          <a:xfrm>
            <a:off x="539750" y="1989138"/>
            <a:ext cx="3960813" cy="4032250"/>
          </a:xfrm>
          <a:prstGeom prst="homePlate">
            <a:avLst>
              <a:gd name="adj" fmla="val 16472"/>
            </a:avLst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</p:spPr>
        <p:txBody>
          <a:bodyPr lIns="90000" tIns="82800" rIns="90000" bIns="46800"/>
          <a:lstStyle/>
          <a:p>
            <a:pPr fontAlgn="auto">
              <a:lnSpc>
                <a:spcPct val="110000"/>
              </a:lnSpc>
              <a:spcBef>
                <a:spcPct val="5000"/>
              </a:spcBef>
              <a:spcAft>
                <a:spcPts val="0"/>
              </a:spcAft>
              <a:buSzPct val="100000"/>
              <a:defRPr/>
            </a:pPr>
            <a:endParaRPr lang="en-GB" sz="15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39750" y="1341438"/>
            <a:ext cx="8064500" cy="48244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5800" y="2133600"/>
            <a:ext cx="2667000" cy="1524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4800600" y="2133600"/>
            <a:ext cx="2286000" cy="1752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</a:p>
        </p:txBody>
      </p:sp>
      <p:sp>
        <p:nvSpPr>
          <p:cNvPr id="12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6D9A65-0560-4F79-AFC6-48900B53093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9144000" cy="6308725"/>
          </a:xfr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4857751"/>
            <a:ext cx="8064500" cy="1101724"/>
          </a:xfrm>
          <a:noFill/>
          <a:ln>
            <a:noFill/>
          </a:ln>
          <a:effectLst/>
          <a:extLst/>
        </p:spPr>
        <p:txBody>
          <a:bodyPr anchor="b"/>
          <a:lstStyle>
            <a:lvl1pPr>
              <a:defRPr lang="en-GB" sz="2400" kern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E986C6-68F0-4FB8-A6F5-AC9BCECC1E7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9144000" cy="5516563"/>
          </a:xfr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39750" y="5517232"/>
            <a:ext cx="3960813" cy="792088"/>
          </a:xfrm>
          <a:noFill/>
          <a:ln>
            <a:noFill/>
          </a:ln>
          <a:effectLst/>
          <a:extLst/>
        </p:spPr>
        <p:txBody>
          <a:bodyPr tIns="36000"/>
          <a:lstStyle>
            <a:lvl1pPr>
              <a:lnSpc>
                <a:spcPct val="100000"/>
              </a:lnSpc>
              <a:defRPr lang="en-GB" sz="1500" b="0" kern="1200" noProof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gray">
          <a:xfrm>
            <a:off x="4643438" y="5516563"/>
            <a:ext cx="3960812" cy="792162"/>
          </a:xfrm>
          <a:noFill/>
          <a:ln>
            <a:noFill/>
          </a:ln>
          <a:effectLst/>
          <a:extLst/>
        </p:spPr>
        <p:txBody>
          <a:bodyPr tIns="36000"/>
          <a:lstStyle>
            <a:lvl1pPr>
              <a:lnSpc>
                <a:spcPct val="100000"/>
              </a:lnSpc>
              <a:defRPr lang="en-GB" sz="1500" b="0" kern="1200" noProof="0" smtClean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EA6752-AD5C-4FF3-97ED-2CEBBF863C6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C51B8F-F213-4D3F-AE23-61CF4B6F81B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Picture with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334000"/>
          </a:xfrm>
        </p:spPr>
        <p:txBody>
          <a:bodyPr/>
          <a:lstStyle/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152400" y="5410200"/>
            <a:ext cx="4267200" cy="60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572000" y="5410200"/>
            <a:ext cx="4267200" cy="60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en-US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8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E0CC15-CB6A-454B-BF03-A7B5817596B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e Picture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ChangeArrowheads="1"/>
          </p:cNvSpPr>
          <p:nvPr/>
        </p:nvSpPr>
        <p:spPr bwMode="gray">
          <a:xfrm>
            <a:off x="539750" y="4857750"/>
            <a:ext cx="8064500" cy="1101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defRPr/>
            </a:pPr>
            <a:r>
              <a:rPr lang="en-GB" sz="2400" b="1">
                <a:solidFill>
                  <a:srgbClr val="FFFFFF"/>
                </a:solidFill>
                <a:latin typeface="Arial"/>
              </a:rPr>
              <a:t>Гибкий заголовок</a:t>
            </a:r>
            <a:r>
              <a:rPr/>
              <a:t/>
            </a:r>
            <a:br>
              <a:rPr/>
            </a:br>
            <a:r>
              <a:rPr lang="en-GB" sz="2400" b="1">
                <a:solidFill>
                  <a:srgbClr val="FFFFFF"/>
                </a:solidFill>
                <a:latin typeface="Arial"/>
              </a:rPr>
              <a:t>вторая строка</a:t>
            </a:r>
          </a:p>
        </p:txBody>
      </p:sp>
      <p:sp>
        <p:nvSpPr>
          <p:cNvPr id="5" name="Rectangle 11"/>
          <p:cNvSpPr>
            <a:spLocks noChangeArrowheads="1"/>
          </p:cNvSpPr>
          <p:nvPr/>
        </p:nvSpPr>
        <p:spPr bwMode="gray">
          <a:xfrm>
            <a:off x="7164388" y="404813"/>
            <a:ext cx="1439862" cy="28733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900" b="1">
                <a:solidFill>
                  <a:srgbClr val="E65D21"/>
                </a:solidFill>
                <a:latin typeface="Arial"/>
              </a:rPr>
              <a:t>КОНФИДЕНЦИАЛЬНО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5"/>
          </p:nvPr>
        </p:nvSpPr>
        <p:spPr>
          <a:xfrm>
            <a:off x="838200" y="4343400"/>
            <a:ext cx="7467600" cy="9906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539750" y="311150"/>
            <a:ext cx="7461250" cy="814388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Date Placeholder 10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en-US"/>
          </a:p>
        </p:txBody>
      </p:sp>
      <p:sp>
        <p:nvSpPr>
          <p:cNvPr id="7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B0049D-A8DC-4E14-ACA8-67192385777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Footer Placeholder 12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3"/>
          </p:nvPr>
        </p:nvSpPr>
        <p:spPr>
          <a:xfrm>
            <a:off x="685800" y="1524000"/>
            <a:ext cx="7924800" cy="2133600"/>
          </a:xfrm>
        </p:spPr>
        <p:txBody>
          <a:bodyPr/>
          <a:lstStyle/>
          <a:p>
            <a:pPr lvl="0"/>
            <a:r>
              <a:rPr lang="en-US" noProof="0" smtClean="0"/>
              <a:t>Click icon to add table</a:t>
            </a:r>
            <a:endParaRPr 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54C669-4D7A-4F74-BEFE-5D739D661D4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/>
        </p:nvSpPr>
        <p:spPr bwMode="gray">
          <a:xfrm>
            <a:off x="539750" y="6411913"/>
            <a:ext cx="285750" cy="1635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91418855-A817-4582-BA5B-451297904D06}" type="slidenum">
              <a:rPr lang="en-GB" sz="900">
                <a:solidFill>
                  <a:srgbClr val="FF0000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900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gray">
          <a:xfrm>
            <a:off x="539750" y="311150"/>
            <a:ext cx="8064500" cy="8143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/>
          <a:lstStyle/>
          <a:p>
            <a:pPr>
              <a:lnSpc>
                <a:spcPct val="110000"/>
              </a:lnSpc>
              <a:defRPr/>
            </a:pPr>
            <a:r>
              <a:rPr lang="en-GB" sz="2400" b="1" kern="0" dirty="0">
                <a:solidFill>
                  <a:srgbClr val="E65D21"/>
                </a:solidFill>
                <a:latin typeface="Arial"/>
              </a:rPr>
              <a:t>Заголовок</a:t>
            </a:r>
            <a:r>
              <a:rPr/>
              <a:t/>
            </a:r>
            <a:br>
              <a:rPr/>
            </a:br>
            <a:r>
              <a:rPr lang="en-GB" sz="2400" b="1" kern="0" dirty="0">
                <a:solidFill>
                  <a:srgbClr val="E65D21"/>
                </a:solidFill>
                <a:latin typeface="Arial"/>
              </a:rPr>
              <a:t>вторая строка</a:t>
            </a: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39750" y="1341438"/>
            <a:ext cx="8064500" cy="482441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 dirty="0" smtClean="0"/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en-US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9A63A5-F470-4157-95A9-79978F965D2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pictures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311150"/>
            <a:ext cx="8064500" cy="8143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1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0" y="1524000"/>
            <a:ext cx="3960812" cy="1676400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 dirty="0" smtClean="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533400" y="1524000"/>
            <a:ext cx="3733800" cy="1676400"/>
          </a:xfrm>
        </p:spPr>
        <p:txBody>
          <a:bodyPr/>
          <a:lstStyle/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533400" y="3962400"/>
            <a:ext cx="3733800" cy="1676400"/>
          </a:xfrm>
        </p:spPr>
        <p:txBody>
          <a:bodyPr/>
          <a:lstStyle/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20" name="Rectangle 3"/>
          <p:cNvSpPr>
            <a:spLocks noGrp="1" noChangeArrowheads="1"/>
          </p:cNvSpPr>
          <p:nvPr>
            <p:ph type="body" idx="15"/>
          </p:nvPr>
        </p:nvSpPr>
        <p:spPr>
          <a:xfrm>
            <a:off x="4648200" y="3962400"/>
            <a:ext cx="3960812" cy="1676400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 dirty="0" smtClean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/>
          </p:nvPr>
        </p:nvSpPr>
        <p:spPr>
          <a:xfrm>
            <a:off x="609600" y="5943600"/>
            <a:ext cx="3657600" cy="152400"/>
          </a:xfrm>
        </p:spPr>
        <p:txBody>
          <a:bodyPr/>
          <a:lstStyle>
            <a:lvl1pPr>
              <a:defRPr sz="1050" b="0" baseline="0"/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7"/>
          </p:nvPr>
        </p:nvSpPr>
        <p:spPr>
          <a:xfrm>
            <a:off x="533400" y="3352800"/>
            <a:ext cx="3657600" cy="152400"/>
          </a:xfrm>
        </p:spPr>
        <p:txBody>
          <a:bodyPr/>
          <a:lstStyle>
            <a:lvl1pPr>
              <a:defRPr sz="1050" b="0" baseline="0"/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dt" sz="half" idx="18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en-US" dirty="0"/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19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en-US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2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6F3FCF-6DF6-4479-AD23-5A19E8BABA5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643438" y="1341438"/>
            <a:ext cx="3960812" cy="48244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685800" y="1371600"/>
            <a:ext cx="3657600" cy="4114800"/>
          </a:xfrm>
        </p:spPr>
        <p:txBody>
          <a:bodyPr/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685800" y="5715000"/>
            <a:ext cx="3581400" cy="4572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en-US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en-US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8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964736-EE72-40F1-8D79-D83C3204FBB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mp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 txBox="1">
            <a:spLocks/>
          </p:cNvSpPr>
          <p:nvPr/>
        </p:nvSpPr>
        <p:spPr bwMode="gray">
          <a:xfrm>
            <a:off x="884238" y="6411913"/>
            <a:ext cx="6280150" cy="1635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1">
                <a:solidFill>
                  <a:srgbClr val="58585A"/>
                </a:solidFill>
                <a:latin typeface="Arial"/>
              </a:rPr>
              <a:t>Имя файла | КОД ОРГ-ЦИИ | Инициал</a:t>
            </a:r>
          </a:p>
        </p:txBody>
      </p:sp>
      <p:sp>
        <p:nvSpPr>
          <p:cNvPr id="4" name="Slide Number Placeholder 5"/>
          <p:cNvSpPr txBox="1">
            <a:spLocks/>
          </p:cNvSpPr>
          <p:nvPr/>
        </p:nvSpPr>
        <p:spPr bwMode="gray">
          <a:xfrm>
            <a:off x="539750" y="6411913"/>
            <a:ext cx="285750" cy="1635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B828BF8F-7669-439F-B18C-B542661E1464}" type="slidenum">
              <a:rPr lang="en-GB" sz="900">
                <a:solidFill>
                  <a:srgbClr val="FF0000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900">
              <a:solidFill>
                <a:srgbClr val="FF0000"/>
              </a:solidFill>
              <a:latin typeface="Arial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gray">
          <a:xfrm>
            <a:off x="539750" y="311150"/>
            <a:ext cx="8064500" cy="8143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/>
          <a:lstStyle/>
          <a:p>
            <a:pPr>
              <a:lnSpc>
                <a:spcPct val="110000"/>
              </a:lnSpc>
              <a:defRPr/>
            </a:pPr>
            <a:r>
              <a:rPr lang="en-GB" sz="2400" b="1" kern="0" dirty="0">
                <a:solidFill>
                  <a:srgbClr val="E65D21"/>
                </a:solidFill>
                <a:latin typeface="Arial"/>
              </a:rPr>
              <a:t>Заголовок</a:t>
            </a:r>
            <a:r>
              <a:rPr/>
              <a:t/>
            </a:r>
            <a:br>
              <a:rPr/>
            </a:br>
            <a:r>
              <a:rPr lang="en-GB" sz="2400" b="1" kern="0" dirty="0">
                <a:solidFill>
                  <a:srgbClr val="E65D21"/>
                </a:solidFill>
                <a:latin typeface="Arial"/>
              </a:rPr>
              <a:t>вторая строка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609600" y="1447800"/>
            <a:ext cx="8077200" cy="4495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4FBE7E-1E0B-479B-B650-285F1C2B9F4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3"/>
          </p:nvPr>
        </p:nvSpPr>
        <p:spPr>
          <a:xfrm>
            <a:off x="762000" y="1447800"/>
            <a:ext cx="7772400" cy="4495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843BFB-E4F0-40AE-B0A0-A028474370E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9144000" cy="6308725"/>
          </a:xfr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4857751"/>
            <a:ext cx="8064500" cy="1101724"/>
          </a:xfrm>
          <a:noFill/>
          <a:ln>
            <a:noFill/>
          </a:ln>
          <a:effectLst/>
          <a:extLst/>
        </p:spPr>
        <p:txBody>
          <a:bodyPr anchor="b"/>
          <a:lstStyle>
            <a:lvl1pPr>
              <a:defRPr lang="en-GB" sz="2400" kern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0864F4-840E-42D1-8DDA-9F36372F06F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e Picture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>
            <a:spLocks noChangeArrowheads="1"/>
          </p:cNvSpPr>
          <p:nvPr userDrawn="1"/>
        </p:nvSpPr>
        <p:spPr bwMode="gray">
          <a:xfrm>
            <a:off x="539750" y="4857750"/>
            <a:ext cx="8064500" cy="1101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100000"/>
              <a:defRPr/>
            </a:pPr>
            <a:r>
              <a:rPr lang="en-GB" sz="2400" b="1">
                <a:solidFill>
                  <a:srgbClr val="FFFFFF"/>
                </a:solidFill>
                <a:latin typeface="Arial"/>
              </a:rPr>
              <a:t>Гибкий заголовок</a:t>
            </a:r>
            <a:r>
              <a:rPr/>
              <a:t/>
            </a:r>
            <a:br>
              <a:rPr/>
            </a:br>
            <a:r>
              <a:rPr lang="en-GB" sz="2400" b="1">
                <a:solidFill>
                  <a:srgbClr val="FFFFFF"/>
                </a:solidFill>
                <a:latin typeface="Arial"/>
              </a:rPr>
              <a:t>вторая строка</a:t>
            </a:r>
          </a:p>
        </p:txBody>
      </p:sp>
      <p:sp>
        <p:nvSpPr>
          <p:cNvPr id="6" name="Rectangle 11"/>
          <p:cNvSpPr>
            <a:spLocks noChangeArrowheads="1"/>
          </p:cNvSpPr>
          <p:nvPr userDrawn="1"/>
        </p:nvSpPr>
        <p:spPr bwMode="gray">
          <a:xfrm>
            <a:off x="7164388" y="404813"/>
            <a:ext cx="1439862" cy="28733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900" b="1">
                <a:solidFill>
                  <a:srgbClr val="FF6600"/>
                </a:solidFill>
                <a:latin typeface="Arial"/>
              </a:rPr>
              <a:t>КОНФИДЕНЦИАЛЬНО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5"/>
          </p:nvPr>
        </p:nvSpPr>
        <p:spPr>
          <a:xfrm>
            <a:off x="838200" y="4343400"/>
            <a:ext cx="7467600" cy="9906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24" name="Picture Placeholder 23"/>
          <p:cNvSpPr>
            <a:spLocks noGrp="1"/>
          </p:cNvSpPr>
          <p:nvPr>
            <p:ph type="pic" sz="quarter" idx="16"/>
          </p:nvPr>
        </p:nvSpPr>
        <p:spPr>
          <a:xfrm>
            <a:off x="457200" y="228600"/>
            <a:ext cx="8305800" cy="5943600"/>
          </a:xfrm>
        </p:spPr>
        <p:txBody>
          <a:bodyPr/>
          <a:lstStyle/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Date Placeholder 10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en-US"/>
          </a:p>
        </p:txBody>
      </p:sp>
      <p:sp>
        <p:nvSpPr>
          <p:cNvPr id="8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EBFCE7-CA67-40BD-B6CE-E2D8738CDFC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" name="Footer Placeholder 12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Picture with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334000"/>
          </a:xfrm>
        </p:spPr>
        <p:txBody>
          <a:bodyPr/>
          <a:lstStyle/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152400" y="5410200"/>
            <a:ext cx="4267200" cy="60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572000" y="5410200"/>
            <a:ext cx="4267200" cy="60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en-US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8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D732E63-8F0A-4221-AC53-53AF256DDF1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3"/>
          </p:nvPr>
        </p:nvSpPr>
        <p:spPr>
          <a:xfrm>
            <a:off x="685800" y="1524000"/>
            <a:ext cx="7924800" cy="2133600"/>
          </a:xfrm>
        </p:spPr>
        <p:txBody>
          <a:bodyPr/>
          <a:lstStyle/>
          <a:p>
            <a:pPr lvl="0"/>
            <a:r>
              <a:rPr lang="en-US" noProof="0" smtClean="0"/>
              <a:t>Click icon to add table</a:t>
            </a:r>
            <a:endParaRPr 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18CE44-8DA4-4580-AE95-9C6FAAA7E2C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CF5758-0459-4218-8650-B3D54A59F5C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 bwMode="gray">
          <a:xfrm>
            <a:off x="539750" y="6411913"/>
            <a:ext cx="285750" cy="1635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0B499784-DDD4-4998-A013-9E4101795CBE}" type="slidenum">
              <a:rPr lang="en-GB" sz="900">
                <a:solidFill>
                  <a:srgbClr val="FF0000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900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 userDrawn="1"/>
        </p:nvSpPr>
        <p:spPr bwMode="gray">
          <a:xfrm>
            <a:off x="539750" y="311150"/>
            <a:ext cx="8064500" cy="8143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/>
          <a:lstStyle/>
          <a:p>
            <a:pPr>
              <a:lnSpc>
                <a:spcPct val="110000"/>
              </a:lnSpc>
              <a:defRPr/>
            </a:pPr>
            <a:r>
              <a:rPr lang="en-GB" sz="2400" b="1" kern="0" dirty="0">
                <a:solidFill>
                  <a:srgbClr val="E65D21"/>
                </a:solidFill>
                <a:latin typeface="Arial"/>
              </a:rPr>
              <a:t>Заголовок</a:t>
            </a:r>
            <a:r>
              <a:rPr/>
              <a:t/>
            </a:r>
            <a:br>
              <a:rPr/>
            </a:br>
            <a:r>
              <a:rPr lang="en-GB" sz="2400" b="1" kern="0" dirty="0">
                <a:solidFill>
                  <a:srgbClr val="E65D21"/>
                </a:solidFill>
                <a:latin typeface="Arial"/>
              </a:rPr>
              <a:t>вторая строка</a:t>
            </a: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39750" y="1341438"/>
            <a:ext cx="8064500" cy="482441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 dirty="0" smtClean="0"/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en-US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609590-472A-495F-8CA4-21D32656C6E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pictures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311150"/>
            <a:ext cx="8064500" cy="8143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1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0" y="1524000"/>
            <a:ext cx="3960812" cy="1676400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 dirty="0" smtClean="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533400" y="1524000"/>
            <a:ext cx="3733800" cy="1676400"/>
          </a:xfrm>
        </p:spPr>
        <p:txBody>
          <a:bodyPr/>
          <a:lstStyle/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533400" y="3962400"/>
            <a:ext cx="3733800" cy="1676400"/>
          </a:xfrm>
        </p:spPr>
        <p:txBody>
          <a:bodyPr/>
          <a:lstStyle/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20" name="Rectangle 3"/>
          <p:cNvSpPr>
            <a:spLocks noGrp="1" noChangeArrowheads="1"/>
          </p:cNvSpPr>
          <p:nvPr>
            <p:ph type="body" idx="15"/>
          </p:nvPr>
        </p:nvSpPr>
        <p:spPr>
          <a:xfrm>
            <a:off x="4648200" y="3962400"/>
            <a:ext cx="3960812" cy="1676400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 dirty="0" smtClean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/>
          </p:nvPr>
        </p:nvSpPr>
        <p:spPr>
          <a:xfrm>
            <a:off x="609600" y="5943600"/>
            <a:ext cx="3657600" cy="152400"/>
          </a:xfrm>
        </p:spPr>
        <p:txBody>
          <a:bodyPr/>
          <a:lstStyle>
            <a:lvl1pPr>
              <a:defRPr sz="1050" b="0" baseline="0"/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7"/>
          </p:nvPr>
        </p:nvSpPr>
        <p:spPr>
          <a:xfrm>
            <a:off x="533400" y="3352800"/>
            <a:ext cx="3657600" cy="152400"/>
          </a:xfrm>
        </p:spPr>
        <p:txBody>
          <a:bodyPr/>
          <a:lstStyle>
            <a:lvl1pPr>
              <a:defRPr sz="1050" b="0" baseline="0"/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dt" sz="half" idx="18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en-US" dirty="0"/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19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en-US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2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639B36-1D01-4BB8-B070-16E9413D0BF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643438" y="1341438"/>
            <a:ext cx="3960812" cy="48244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685800" y="1371600"/>
            <a:ext cx="3657600" cy="4114800"/>
          </a:xfrm>
        </p:spPr>
        <p:txBody>
          <a:bodyPr/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685800" y="5715000"/>
            <a:ext cx="3581400" cy="4572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en-US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en-US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8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8A03FA-B83A-4461-93F6-DCB1F278BD5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mp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 txBox="1">
            <a:spLocks/>
          </p:cNvSpPr>
          <p:nvPr userDrawn="1"/>
        </p:nvSpPr>
        <p:spPr bwMode="gray">
          <a:xfrm>
            <a:off x="884238" y="6411913"/>
            <a:ext cx="6280150" cy="1635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1">
                <a:solidFill>
                  <a:srgbClr val="58585A"/>
                </a:solidFill>
                <a:latin typeface="Arial"/>
              </a:rPr>
              <a:t>Имя файла | КОД ОРГ-ЦИИ | Инициал</a:t>
            </a:r>
          </a:p>
        </p:txBody>
      </p:sp>
      <p:sp>
        <p:nvSpPr>
          <p:cNvPr id="4" name="Slide Number Placeholder 5"/>
          <p:cNvSpPr txBox="1">
            <a:spLocks/>
          </p:cNvSpPr>
          <p:nvPr userDrawn="1"/>
        </p:nvSpPr>
        <p:spPr bwMode="gray">
          <a:xfrm>
            <a:off x="539750" y="6411913"/>
            <a:ext cx="285750" cy="1635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F4396262-2EDE-4B00-8DDD-7A6FEF902783}" type="slidenum">
              <a:rPr lang="en-GB" sz="900">
                <a:solidFill>
                  <a:srgbClr val="FF0000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900">
              <a:solidFill>
                <a:srgbClr val="FF0000"/>
              </a:solidFill>
              <a:latin typeface="Arial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 userDrawn="1"/>
        </p:nvSpPr>
        <p:spPr bwMode="gray">
          <a:xfrm>
            <a:off x="539750" y="311150"/>
            <a:ext cx="8064500" cy="8143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/>
          <a:lstStyle/>
          <a:p>
            <a:pPr>
              <a:lnSpc>
                <a:spcPct val="110000"/>
              </a:lnSpc>
              <a:defRPr/>
            </a:pPr>
            <a:r>
              <a:rPr lang="en-GB" sz="2400" b="1" kern="0" dirty="0">
                <a:solidFill>
                  <a:srgbClr val="E65D21"/>
                </a:solidFill>
                <a:latin typeface="Arial"/>
              </a:rPr>
              <a:t>Заголовок</a:t>
            </a:r>
            <a:r>
              <a:rPr/>
              <a:t/>
            </a:r>
            <a:br>
              <a:rPr/>
            </a:br>
            <a:r>
              <a:rPr lang="en-GB" sz="2400" b="1" kern="0" dirty="0">
                <a:solidFill>
                  <a:srgbClr val="E65D21"/>
                </a:solidFill>
                <a:latin typeface="Arial"/>
              </a:rPr>
              <a:t>вторая строка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609600" y="1447800"/>
            <a:ext cx="8077200" cy="4495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en-US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15FADB-0357-4AC2-895A-1FC6735D09B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2D75DDB-4A96-41E3-B886-B0633AE2581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9144000" cy="5516563"/>
          </a:xfr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39750" y="5517232"/>
            <a:ext cx="3960813" cy="792088"/>
          </a:xfrm>
          <a:noFill/>
          <a:ln>
            <a:noFill/>
          </a:ln>
          <a:effectLst/>
          <a:extLst/>
        </p:spPr>
        <p:txBody>
          <a:bodyPr tIns="36000" anchor="t"/>
          <a:lstStyle>
            <a:lvl1pPr>
              <a:lnSpc>
                <a:spcPct val="100000"/>
              </a:lnSpc>
              <a:defRPr lang="en-GB" sz="1500" b="0" kern="1200" noProof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defRPr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gray">
          <a:xfrm>
            <a:off x="4643438" y="5516563"/>
            <a:ext cx="3960812" cy="792162"/>
          </a:xfrm>
          <a:noFill/>
          <a:ln>
            <a:noFill/>
          </a:ln>
          <a:effectLst/>
          <a:extLst/>
        </p:spPr>
        <p:txBody>
          <a:bodyPr tIns="36000"/>
          <a:lstStyle>
            <a:lvl1pPr>
              <a:lnSpc>
                <a:spcPct val="100000"/>
              </a:lnSpc>
              <a:defRPr lang="en-GB" sz="1500" b="0" kern="1200" noProof="0" smtClean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\\FLS-SJC01\PCcommon\Marcom - Public\OS Logos 2013\New Logos October 2013\Office_Multimedia\OSRAM_OS_CorpLogo-RGBpos_2013.jpg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239000" y="5867400"/>
            <a:ext cx="15367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 bwMode="gray">
          <a:xfrm>
            <a:off x="0" y="0"/>
            <a:ext cx="9144000" cy="6857999"/>
          </a:xfrm>
          <a:custGeom>
            <a:avLst/>
            <a:gdLst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59644 w 9144000"/>
              <a:gd name="connsiteY5" fmla="*/ 2596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84356 w 9144000"/>
              <a:gd name="connsiteY8" fmla="*/ 259644 h 6857999"/>
              <a:gd name="connsiteX9" fmla="*/ 259644 w 9144000"/>
              <a:gd name="connsiteY9" fmla="*/ 259644 h 6857999"/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59644 w 9144000"/>
              <a:gd name="connsiteY5" fmla="*/ 48748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84356 w 9144000"/>
              <a:gd name="connsiteY8" fmla="*/ 259644 h 6857999"/>
              <a:gd name="connsiteX9" fmla="*/ 259644 w 9144000"/>
              <a:gd name="connsiteY9" fmla="*/ 4874844 h 6857999"/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59644 w 9144000"/>
              <a:gd name="connsiteY5" fmla="*/ 48748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77156 w 9144000"/>
              <a:gd name="connsiteY8" fmla="*/ 4666044 h 6857999"/>
              <a:gd name="connsiteX9" fmla="*/ 259644 w 9144000"/>
              <a:gd name="connsiteY9" fmla="*/ 4874844 h 6857999"/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59644 w 9144000"/>
              <a:gd name="connsiteY5" fmla="*/ 48748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77156 w 9144000"/>
              <a:gd name="connsiteY8" fmla="*/ 4284444 h 6857999"/>
              <a:gd name="connsiteX9" fmla="*/ 259644 w 9144000"/>
              <a:gd name="connsiteY9" fmla="*/ 4874844 h 6857999"/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66844 w 9144000"/>
              <a:gd name="connsiteY5" fmla="*/ 42844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77156 w 9144000"/>
              <a:gd name="connsiteY8" fmla="*/ 4284444 h 6857999"/>
              <a:gd name="connsiteX9" fmla="*/ 266844 w 9144000"/>
              <a:gd name="connsiteY9" fmla="*/ 4284444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44000" h="6857999">
                <a:moveTo>
                  <a:pt x="0" y="0"/>
                </a:moveTo>
                <a:lnTo>
                  <a:pt x="9144000" y="0"/>
                </a:lnTo>
                <a:lnTo>
                  <a:pt x="9144000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266844" y="4284444"/>
                </a:moveTo>
                <a:lnTo>
                  <a:pt x="259644" y="6598355"/>
                </a:lnTo>
                <a:lnTo>
                  <a:pt x="8884356" y="6598355"/>
                </a:lnTo>
                <a:lnTo>
                  <a:pt x="8877156" y="4284444"/>
                </a:lnTo>
                <a:lnTo>
                  <a:pt x="266844" y="4284444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anchor="ctr"/>
          <a:lstStyle>
            <a:lvl1pPr algn="ctr">
              <a:defRPr b="0"/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39939" name="Rectangle 3"/>
          <p:cNvSpPr>
            <a:spLocks noGrp="1" noChangeArrowheads="1"/>
          </p:cNvSpPr>
          <p:nvPr>
            <p:ph type="ctrTitle"/>
          </p:nvPr>
        </p:nvSpPr>
        <p:spPr bwMode="gray">
          <a:xfrm>
            <a:off x="539750" y="4508501"/>
            <a:ext cx="8064500" cy="996950"/>
          </a:xfrm>
        </p:spPr>
        <p:txBody>
          <a:bodyPr/>
          <a:lstStyle>
            <a:lvl1pPr>
              <a:lnSpc>
                <a:spcPct val="100000"/>
              </a:lnSpc>
              <a:defRPr sz="3000"/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en-GB" noProof="0" smtClean="0"/>
          </a:p>
        </p:txBody>
      </p:sp>
      <p:sp>
        <p:nvSpPr>
          <p:cNvPr id="39940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39750" y="5661248"/>
            <a:ext cx="6119813" cy="698276"/>
          </a:xfrm>
        </p:spPr>
        <p:txBody>
          <a:bodyPr anchor="b"/>
          <a:lstStyle>
            <a:lvl1pPr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  <a:endParaRPr lang="en-GB" noProof="0" smtClean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 bwMode="gray">
          <a:xfrm>
            <a:off x="0" y="404813"/>
            <a:ext cx="9144000" cy="324000"/>
          </a:xfrm>
          <a:solidFill>
            <a:srgbClr val="FF6600"/>
          </a:solidFill>
          <a:ln>
            <a:noFill/>
          </a:ln>
        </p:spPr>
        <p:txBody>
          <a:bodyPr lIns="540000" anchor="ctr"/>
          <a:lstStyle>
            <a:lvl1pPr>
              <a:lnSpc>
                <a:spcPct val="100000"/>
              </a:lnSpc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ith Picture (Cobra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\\FLS-SJC01\PCcommon\Marcom - Public\OS Logos 2013\New Logos October 2013\Office_Multimedia\OSRAM_OS_CorpLogo-RGBpos_2013.jpg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239000" y="5867400"/>
            <a:ext cx="15367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 bwMode="gray">
          <a:xfrm>
            <a:off x="0" y="0"/>
            <a:ext cx="9144000" cy="6857999"/>
          </a:xfrm>
          <a:custGeom>
            <a:avLst/>
            <a:gdLst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59644 w 9144000"/>
              <a:gd name="connsiteY5" fmla="*/ 2596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84356 w 9144000"/>
              <a:gd name="connsiteY8" fmla="*/ 259644 h 6857999"/>
              <a:gd name="connsiteX9" fmla="*/ 259644 w 9144000"/>
              <a:gd name="connsiteY9" fmla="*/ 259644 h 6857999"/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59644 w 9144000"/>
              <a:gd name="connsiteY5" fmla="*/ 48748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84356 w 9144000"/>
              <a:gd name="connsiteY8" fmla="*/ 259644 h 6857999"/>
              <a:gd name="connsiteX9" fmla="*/ 259644 w 9144000"/>
              <a:gd name="connsiteY9" fmla="*/ 4874844 h 6857999"/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59644 w 9144000"/>
              <a:gd name="connsiteY5" fmla="*/ 48748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77156 w 9144000"/>
              <a:gd name="connsiteY8" fmla="*/ 4666044 h 6857999"/>
              <a:gd name="connsiteX9" fmla="*/ 259644 w 9144000"/>
              <a:gd name="connsiteY9" fmla="*/ 4874844 h 6857999"/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59644 w 9144000"/>
              <a:gd name="connsiteY5" fmla="*/ 48748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77156 w 9144000"/>
              <a:gd name="connsiteY8" fmla="*/ 4284444 h 6857999"/>
              <a:gd name="connsiteX9" fmla="*/ 259644 w 9144000"/>
              <a:gd name="connsiteY9" fmla="*/ 4874844 h 6857999"/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66844 w 9144000"/>
              <a:gd name="connsiteY5" fmla="*/ 42844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77156 w 9144000"/>
              <a:gd name="connsiteY8" fmla="*/ 4284444 h 6857999"/>
              <a:gd name="connsiteX9" fmla="*/ 266844 w 9144000"/>
              <a:gd name="connsiteY9" fmla="*/ 4284444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44000" h="6857999">
                <a:moveTo>
                  <a:pt x="0" y="0"/>
                </a:moveTo>
                <a:lnTo>
                  <a:pt x="9144000" y="0"/>
                </a:lnTo>
                <a:lnTo>
                  <a:pt x="9144000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266844" y="4284444"/>
                </a:moveTo>
                <a:lnTo>
                  <a:pt x="259644" y="6598355"/>
                </a:lnTo>
                <a:lnTo>
                  <a:pt x="8884356" y="6598355"/>
                </a:lnTo>
                <a:lnTo>
                  <a:pt x="8877156" y="4284444"/>
                </a:lnTo>
                <a:lnTo>
                  <a:pt x="266844" y="4284444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anchor="ctr"/>
          <a:lstStyle>
            <a:lvl1pPr algn="ctr">
              <a:defRPr b="0"/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39939" name="Rectangle 3"/>
          <p:cNvSpPr>
            <a:spLocks noGrp="1" noChangeArrowheads="1"/>
          </p:cNvSpPr>
          <p:nvPr>
            <p:ph type="ctrTitle"/>
          </p:nvPr>
        </p:nvSpPr>
        <p:spPr bwMode="gray">
          <a:xfrm>
            <a:off x="539750" y="4508501"/>
            <a:ext cx="8064500" cy="936723"/>
          </a:xfrm>
        </p:spPr>
        <p:txBody>
          <a:bodyPr/>
          <a:lstStyle>
            <a:lvl1pPr>
              <a:lnSpc>
                <a:spcPct val="100000"/>
              </a:lnSpc>
              <a:defRPr sz="3000"/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en-GB" noProof="0" smtClean="0"/>
          </a:p>
        </p:txBody>
      </p:sp>
      <p:sp>
        <p:nvSpPr>
          <p:cNvPr id="39940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39750" y="5446800"/>
            <a:ext cx="6119813" cy="266400"/>
          </a:xfrm>
        </p:spPr>
        <p:txBody>
          <a:bodyPr anchor="b"/>
          <a:lstStyle>
            <a:lvl1pPr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  <a:endParaRPr lang="en-GB" noProof="0" smtClean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 bwMode="gray">
          <a:xfrm>
            <a:off x="0" y="404813"/>
            <a:ext cx="9144000" cy="324000"/>
          </a:xfrm>
          <a:solidFill>
            <a:srgbClr val="FF6600"/>
          </a:solidFill>
          <a:ln>
            <a:noFill/>
          </a:ln>
        </p:spPr>
        <p:txBody>
          <a:bodyPr lIns="540000" anchor="ctr"/>
          <a:lstStyle>
            <a:lvl1pPr>
              <a:lnSpc>
                <a:spcPct val="100000"/>
              </a:lnSpc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5"/>
          <p:cNvSpPr txBox="1">
            <a:spLocks noChangeArrowheads="1"/>
          </p:cNvSpPr>
          <p:nvPr/>
        </p:nvSpPr>
        <p:spPr bwMode="gray">
          <a:xfrm>
            <a:off x="0" y="404813"/>
            <a:ext cx="9144000" cy="323850"/>
          </a:xfrm>
          <a:prstGeom prst="rect">
            <a:avLst/>
          </a:prstGeom>
          <a:solidFill>
            <a:srgbClr val="FF6600"/>
          </a:solidFill>
          <a:ln>
            <a:noFill/>
          </a:ln>
          <a:effectLst/>
          <a:extLst/>
        </p:spPr>
        <p:txBody>
          <a:bodyPr wrap="none" lIns="54000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100">
                <a:solidFill>
                  <a:srgbClr val="FFFFFF"/>
                </a:solidFill>
                <a:latin typeface="Arial"/>
              </a:rPr>
              <a:t>www.osram-os.com</a:t>
            </a:r>
          </a:p>
        </p:txBody>
      </p:sp>
      <p:pic>
        <p:nvPicPr>
          <p:cNvPr id="5" name="Picture 1" descr="\\FLS-SJC01\PCcommon\Marcom - Public\OS Logos 2013\New Logos October 2013\Office_Multimedia\OSRAM_OS_CorpLogo-RGBpos_2013.jpg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239000" y="5867400"/>
            <a:ext cx="15367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9939" name="Rectangle 3"/>
          <p:cNvSpPr>
            <a:spLocks noGrp="1" noChangeArrowheads="1"/>
          </p:cNvSpPr>
          <p:nvPr>
            <p:ph type="ctrTitle"/>
          </p:nvPr>
        </p:nvSpPr>
        <p:spPr bwMode="gray">
          <a:xfrm>
            <a:off x="539750" y="2647950"/>
            <a:ext cx="8064500" cy="996950"/>
          </a:xfrm>
        </p:spPr>
        <p:txBody>
          <a:bodyPr/>
          <a:lstStyle>
            <a:lvl1pPr>
              <a:defRPr sz="3000"/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en-GB" noProof="0" smtClean="0"/>
          </a:p>
        </p:txBody>
      </p:sp>
      <p:sp>
        <p:nvSpPr>
          <p:cNvPr id="39940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39750" y="3789363"/>
            <a:ext cx="6119813" cy="2570162"/>
          </a:xfrm>
        </p:spPr>
        <p:txBody>
          <a:bodyPr anchor="b"/>
          <a:lstStyle>
            <a:lvl1pPr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  <a:endParaRPr lang="en-GB" noProof="0" smtClean="0"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(Cobra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5"/>
          <p:cNvSpPr txBox="1">
            <a:spLocks noChangeArrowheads="1"/>
          </p:cNvSpPr>
          <p:nvPr/>
        </p:nvSpPr>
        <p:spPr bwMode="gray">
          <a:xfrm>
            <a:off x="0" y="404813"/>
            <a:ext cx="9144000" cy="323850"/>
          </a:xfrm>
          <a:prstGeom prst="rect">
            <a:avLst/>
          </a:prstGeom>
          <a:solidFill>
            <a:srgbClr val="FF6600"/>
          </a:solidFill>
          <a:ln>
            <a:noFill/>
          </a:ln>
          <a:effectLst/>
          <a:extLst/>
        </p:spPr>
        <p:txBody>
          <a:bodyPr wrap="none" lIns="54000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100">
                <a:solidFill>
                  <a:srgbClr val="FFFFFF"/>
                </a:solidFill>
                <a:latin typeface="Arial"/>
              </a:rPr>
              <a:t>www.osram-os.com</a:t>
            </a:r>
          </a:p>
        </p:txBody>
      </p:sp>
      <p:pic>
        <p:nvPicPr>
          <p:cNvPr id="5" name="Picture 1" descr="\\FLS-SJC01\PCcommon\Marcom - Public\OS Logos 2013\New Logos October 2013\Office_Multimedia\OSRAM_OS_CorpLogo-RGBpos_2013.jpg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239000" y="5867400"/>
            <a:ext cx="15367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9939" name="Rectangle 3"/>
          <p:cNvSpPr>
            <a:spLocks noGrp="1" noChangeArrowheads="1"/>
          </p:cNvSpPr>
          <p:nvPr>
            <p:ph type="ctrTitle"/>
          </p:nvPr>
        </p:nvSpPr>
        <p:spPr bwMode="gray">
          <a:xfrm>
            <a:off x="539750" y="2647950"/>
            <a:ext cx="8064500" cy="996950"/>
          </a:xfrm>
        </p:spPr>
        <p:txBody>
          <a:bodyPr/>
          <a:lstStyle>
            <a:lvl1pPr>
              <a:defRPr sz="3000"/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en-GB" noProof="0" smtClean="0"/>
          </a:p>
        </p:txBody>
      </p:sp>
      <p:sp>
        <p:nvSpPr>
          <p:cNvPr id="39940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39750" y="3789363"/>
            <a:ext cx="6119813" cy="763200"/>
          </a:xfrm>
        </p:spPr>
        <p:txBody>
          <a:bodyPr anchor="b"/>
          <a:lstStyle>
            <a:lvl1pPr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  <a:endParaRPr lang="en-GB" noProof="0" smtClean="0"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B3021109-0BE7-4888-8BF5-F7CE990ED878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9749" y="1357340"/>
            <a:ext cx="3960813" cy="4807964"/>
          </a:xfrm>
          <a:noFill/>
          <a:ln>
            <a:noFill/>
          </a:ln>
          <a:effectLst/>
          <a:extLst/>
        </p:spPr>
        <p:txBody>
          <a:bodyPr/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en-GB"/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3438" y="1357340"/>
            <a:ext cx="3960812" cy="4807964"/>
          </a:xfrm>
          <a:noFill/>
          <a:ln>
            <a:noFill/>
          </a:ln>
          <a:effectLst/>
          <a:extLst/>
        </p:spPr>
        <p:txBody>
          <a:bodyPr/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en-GB"/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D421D145-F108-4B42-A263-8B120C93ABB7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4B06C29F-5878-4769-878F-AC2A6F3D3D68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9144000" cy="6308725"/>
          </a:xfr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4857751"/>
            <a:ext cx="8064500" cy="1101724"/>
          </a:xfrm>
          <a:noFill/>
          <a:ln>
            <a:noFill/>
          </a:ln>
          <a:effectLst/>
          <a:extLst/>
        </p:spPr>
        <p:txBody>
          <a:bodyPr anchor="b"/>
          <a:lstStyle>
            <a:lvl1pPr>
              <a:defRPr lang="en-GB" sz="2400" kern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5" name="Datumsplatzhalter 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de-DE"/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21EA3531-FD93-44AF-A872-0EAB133142EF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9144000" cy="5516563"/>
          </a:xfr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39750" y="5517232"/>
            <a:ext cx="3960813" cy="792088"/>
          </a:xfrm>
          <a:noFill/>
          <a:ln>
            <a:noFill/>
          </a:ln>
          <a:effectLst/>
          <a:extLst/>
        </p:spPr>
        <p:txBody>
          <a:bodyPr tIns="36000"/>
          <a:lstStyle>
            <a:lvl1pPr>
              <a:lnSpc>
                <a:spcPct val="100000"/>
              </a:lnSpc>
              <a:defRPr lang="en-GB" sz="1500" b="0" kern="1200" noProof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defRPr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gray">
          <a:xfrm>
            <a:off x="4643438" y="5516563"/>
            <a:ext cx="3960812" cy="792162"/>
          </a:xfrm>
          <a:noFill/>
          <a:ln>
            <a:noFill/>
          </a:ln>
          <a:effectLst/>
          <a:extLst/>
        </p:spPr>
        <p:txBody>
          <a:bodyPr tIns="36000"/>
          <a:lstStyle>
            <a:lvl1pPr>
              <a:lnSpc>
                <a:spcPct val="100000"/>
              </a:lnSpc>
              <a:defRPr lang="en-GB" sz="1500" b="0" kern="1200" noProof="0" smtClean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5" name="Datumsplatzhalter 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de-DE"/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91B9C0C-3C26-44A2-A944-103A2F4C3FE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2FF6332E-1724-43C7-B98B-68A8CD2A6E85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\\FLS-SJC01\PCcommon\Marcom - Public\OS Logos 2013\New Logos October 2013\Office_Multimedia\OSRAM_OS_CorpLogo-RGBpos_2013.jpg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239000" y="5867400"/>
            <a:ext cx="15367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 bwMode="gray">
          <a:xfrm>
            <a:off x="0" y="0"/>
            <a:ext cx="9144000" cy="6857999"/>
          </a:xfrm>
          <a:custGeom>
            <a:avLst/>
            <a:gdLst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59644 w 9144000"/>
              <a:gd name="connsiteY5" fmla="*/ 2596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84356 w 9144000"/>
              <a:gd name="connsiteY8" fmla="*/ 259644 h 6857999"/>
              <a:gd name="connsiteX9" fmla="*/ 259644 w 9144000"/>
              <a:gd name="connsiteY9" fmla="*/ 259644 h 6857999"/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59644 w 9144000"/>
              <a:gd name="connsiteY5" fmla="*/ 48748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84356 w 9144000"/>
              <a:gd name="connsiteY8" fmla="*/ 259644 h 6857999"/>
              <a:gd name="connsiteX9" fmla="*/ 259644 w 9144000"/>
              <a:gd name="connsiteY9" fmla="*/ 4874844 h 6857999"/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59644 w 9144000"/>
              <a:gd name="connsiteY5" fmla="*/ 48748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77156 w 9144000"/>
              <a:gd name="connsiteY8" fmla="*/ 4666044 h 6857999"/>
              <a:gd name="connsiteX9" fmla="*/ 259644 w 9144000"/>
              <a:gd name="connsiteY9" fmla="*/ 4874844 h 6857999"/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59644 w 9144000"/>
              <a:gd name="connsiteY5" fmla="*/ 48748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77156 w 9144000"/>
              <a:gd name="connsiteY8" fmla="*/ 4284444 h 6857999"/>
              <a:gd name="connsiteX9" fmla="*/ 259644 w 9144000"/>
              <a:gd name="connsiteY9" fmla="*/ 4874844 h 6857999"/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66844 w 9144000"/>
              <a:gd name="connsiteY5" fmla="*/ 42844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77156 w 9144000"/>
              <a:gd name="connsiteY8" fmla="*/ 4284444 h 6857999"/>
              <a:gd name="connsiteX9" fmla="*/ 266844 w 9144000"/>
              <a:gd name="connsiteY9" fmla="*/ 4284444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44000" h="6857999">
                <a:moveTo>
                  <a:pt x="0" y="0"/>
                </a:moveTo>
                <a:lnTo>
                  <a:pt x="9144000" y="0"/>
                </a:lnTo>
                <a:lnTo>
                  <a:pt x="9144000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266844" y="4284444"/>
                </a:moveTo>
                <a:lnTo>
                  <a:pt x="259644" y="6598355"/>
                </a:lnTo>
                <a:lnTo>
                  <a:pt x="8884356" y="6598355"/>
                </a:lnTo>
                <a:lnTo>
                  <a:pt x="8877156" y="4284444"/>
                </a:lnTo>
                <a:lnTo>
                  <a:pt x="266844" y="4284444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anchor="ctr"/>
          <a:lstStyle>
            <a:lvl1pPr algn="ctr">
              <a:defRPr b="0"/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39939" name="Rectangle 3"/>
          <p:cNvSpPr>
            <a:spLocks noGrp="1" noChangeArrowheads="1"/>
          </p:cNvSpPr>
          <p:nvPr>
            <p:ph type="ctrTitle"/>
          </p:nvPr>
        </p:nvSpPr>
        <p:spPr bwMode="gray">
          <a:xfrm>
            <a:off x="539750" y="4508501"/>
            <a:ext cx="8064500" cy="996950"/>
          </a:xfrm>
        </p:spPr>
        <p:txBody>
          <a:bodyPr/>
          <a:lstStyle>
            <a:lvl1pPr>
              <a:lnSpc>
                <a:spcPct val="100000"/>
              </a:lnSpc>
              <a:defRPr sz="3000"/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en-GB" noProof="0" smtClean="0"/>
          </a:p>
        </p:txBody>
      </p:sp>
      <p:sp>
        <p:nvSpPr>
          <p:cNvPr id="39940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39750" y="5661248"/>
            <a:ext cx="6119813" cy="698276"/>
          </a:xfrm>
        </p:spPr>
        <p:txBody>
          <a:bodyPr anchor="b"/>
          <a:lstStyle>
            <a:lvl1pPr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  <a:endParaRPr lang="en-GB" noProof="0" smtClean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 bwMode="gray">
          <a:xfrm>
            <a:off x="0" y="404813"/>
            <a:ext cx="9144000" cy="324000"/>
          </a:xfrm>
          <a:solidFill>
            <a:srgbClr val="FF6600"/>
          </a:solidFill>
          <a:ln>
            <a:noFill/>
          </a:ln>
        </p:spPr>
        <p:txBody>
          <a:bodyPr lIns="540000" anchor="ctr"/>
          <a:lstStyle>
            <a:lvl1pPr>
              <a:lnSpc>
                <a:spcPct val="100000"/>
              </a:lnSpc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ith Picture (Cobra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 descr="\\FLS-SJC01\PCcommon\Marcom - Public\OS Logos 2013\New Logos October 2013\Office_Multimedia\OSRAM_OS_CorpLogo-RGBpos_2013.jpg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239000" y="5867400"/>
            <a:ext cx="15367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 bwMode="gray">
          <a:xfrm>
            <a:off x="0" y="0"/>
            <a:ext cx="9144000" cy="6857999"/>
          </a:xfrm>
          <a:custGeom>
            <a:avLst/>
            <a:gdLst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59644 w 9144000"/>
              <a:gd name="connsiteY5" fmla="*/ 2596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84356 w 9144000"/>
              <a:gd name="connsiteY8" fmla="*/ 259644 h 6857999"/>
              <a:gd name="connsiteX9" fmla="*/ 259644 w 9144000"/>
              <a:gd name="connsiteY9" fmla="*/ 259644 h 6857999"/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59644 w 9144000"/>
              <a:gd name="connsiteY5" fmla="*/ 48748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84356 w 9144000"/>
              <a:gd name="connsiteY8" fmla="*/ 259644 h 6857999"/>
              <a:gd name="connsiteX9" fmla="*/ 259644 w 9144000"/>
              <a:gd name="connsiteY9" fmla="*/ 4874844 h 6857999"/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59644 w 9144000"/>
              <a:gd name="connsiteY5" fmla="*/ 48748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77156 w 9144000"/>
              <a:gd name="connsiteY8" fmla="*/ 4666044 h 6857999"/>
              <a:gd name="connsiteX9" fmla="*/ 259644 w 9144000"/>
              <a:gd name="connsiteY9" fmla="*/ 4874844 h 6857999"/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59644 w 9144000"/>
              <a:gd name="connsiteY5" fmla="*/ 48748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77156 w 9144000"/>
              <a:gd name="connsiteY8" fmla="*/ 4284444 h 6857999"/>
              <a:gd name="connsiteX9" fmla="*/ 259644 w 9144000"/>
              <a:gd name="connsiteY9" fmla="*/ 4874844 h 6857999"/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66844 w 9144000"/>
              <a:gd name="connsiteY5" fmla="*/ 42844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77156 w 9144000"/>
              <a:gd name="connsiteY8" fmla="*/ 4284444 h 6857999"/>
              <a:gd name="connsiteX9" fmla="*/ 266844 w 9144000"/>
              <a:gd name="connsiteY9" fmla="*/ 4284444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44000" h="6857999">
                <a:moveTo>
                  <a:pt x="0" y="0"/>
                </a:moveTo>
                <a:lnTo>
                  <a:pt x="9144000" y="0"/>
                </a:lnTo>
                <a:lnTo>
                  <a:pt x="9144000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266844" y="4284444"/>
                </a:moveTo>
                <a:lnTo>
                  <a:pt x="259644" y="6598355"/>
                </a:lnTo>
                <a:lnTo>
                  <a:pt x="8884356" y="6598355"/>
                </a:lnTo>
                <a:lnTo>
                  <a:pt x="8877156" y="4284444"/>
                </a:lnTo>
                <a:lnTo>
                  <a:pt x="266844" y="4284444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anchor="ctr"/>
          <a:lstStyle>
            <a:lvl1pPr algn="ctr">
              <a:defRPr b="0"/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39939" name="Rectangle 3"/>
          <p:cNvSpPr>
            <a:spLocks noGrp="1" noChangeArrowheads="1"/>
          </p:cNvSpPr>
          <p:nvPr>
            <p:ph type="ctrTitle"/>
          </p:nvPr>
        </p:nvSpPr>
        <p:spPr bwMode="gray">
          <a:xfrm>
            <a:off x="539750" y="4508501"/>
            <a:ext cx="8064500" cy="936723"/>
          </a:xfrm>
        </p:spPr>
        <p:txBody>
          <a:bodyPr/>
          <a:lstStyle>
            <a:lvl1pPr>
              <a:lnSpc>
                <a:spcPct val="100000"/>
              </a:lnSpc>
              <a:defRPr sz="3000"/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en-GB" noProof="0" smtClean="0"/>
          </a:p>
        </p:txBody>
      </p:sp>
      <p:sp>
        <p:nvSpPr>
          <p:cNvPr id="39940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39750" y="5446800"/>
            <a:ext cx="6119813" cy="266400"/>
          </a:xfrm>
        </p:spPr>
        <p:txBody>
          <a:bodyPr anchor="b"/>
          <a:lstStyle>
            <a:lvl1pPr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  <a:endParaRPr lang="en-GB" noProof="0" smtClean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 bwMode="gray">
          <a:xfrm>
            <a:off x="0" y="404813"/>
            <a:ext cx="9144000" cy="324000"/>
          </a:xfrm>
          <a:solidFill>
            <a:srgbClr val="FF6600"/>
          </a:solidFill>
          <a:ln>
            <a:noFill/>
          </a:ln>
        </p:spPr>
        <p:txBody>
          <a:bodyPr lIns="540000" anchor="ctr"/>
          <a:lstStyle>
            <a:lvl1pPr>
              <a:lnSpc>
                <a:spcPct val="100000"/>
              </a:lnSpc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5"/>
          <p:cNvSpPr txBox="1">
            <a:spLocks noChangeArrowheads="1"/>
          </p:cNvSpPr>
          <p:nvPr/>
        </p:nvSpPr>
        <p:spPr bwMode="gray">
          <a:xfrm>
            <a:off x="0" y="404813"/>
            <a:ext cx="9144000" cy="323850"/>
          </a:xfrm>
          <a:prstGeom prst="rect">
            <a:avLst/>
          </a:prstGeom>
          <a:solidFill>
            <a:srgbClr val="FF6600"/>
          </a:solidFill>
          <a:ln>
            <a:noFill/>
          </a:ln>
          <a:effectLst/>
          <a:extLst/>
        </p:spPr>
        <p:txBody>
          <a:bodyPr wrap="none" lIns="54000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100">
                <a:solidFill>
                  <a:srgbClr val="FFFFFF"/>
                </a:solidFill>
                <a:latin typeface="Arial"/>
              </a:rPr>
              <a:t>www.osram-os.com</a:t>
            </a:r>
          </a:p>
        </p:txBody>
      </p:sp>
      <p:pic>
        <p:nvPicPr>
          <p:cNvPr id="5" name="Picture 1" descr="\\FLS-SJC01\PCcommon\Marcom - Public\OS Logos 2013\New Logos October 2013\Office_Multimedia\OSRAM_OS_CorpLogo-RGBpos_2013.jpg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239000" y="5867400"/>
            <a:ext cx="15367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9939" name="Rectangle 3"/>
          <p:cNvSpPr>
            <a:spLocks noGrp="1" noChangeArrowheads="1"/>
          </p:cNvSpPr>
          <p:nvPr>
            <p:ph type="ctrTitle"/>
          </p:nvPr>
        </p:nvSpPr>
        <p:spPr bwMode="gray">
          <a:xfrm>
            <a:off x="539750" y="2647950"/>
            <a:ext cx="8064500" cy="996950"/>
          </a:xfrm>
        </p:spPr>
        <p:txBody>
          <a:bodyPr/>
          <a:lstStyle>
            <a:lvl1pPr>
              <a:defRPr sz="3000"/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en-GB" noProof="0" smtClean="0"/>
          </a:p>
        </p:txBody>
      </p:sp>
      <p:sp>
        <p:nvSpPr>
          <p:cNvPr id="39940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39750" y="3789363"/>
            <a:ext cx="6119813" cy="2570162"/>
          </a:xfrm>
        </p:spPr>
        <p:txBody>
          <a:bodyPr anchor="b"/>
          <a:lstStyle>
            <a:lvl1pPr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  <a:endParaRPr lang="en-GB" noProof="0" smtClean="0"/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(Cobra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5"/>
          <p:cNvSpPr txBox="1">
            <a:spLocks noChangeArrowheads="1"/>
          </p:cNvSpPr>
          <p:nvPr/>
        </p:nvSpPr>
        <p:spPr bwMode="gray">
          <a:xfrm>
            <a:off x="0" y="404813"/>
            <a:ext cx="9144000" cy="323850"/>
          </a:xfrm>
          <a:prstGeom prst="rect">
            <a:avLst/>
          </a:prstGeom>
          <a:solidFill>
            <a:srgbClr val="FF6600"/>
          </a:solidFill>
          <a:ln>
            <a:noFill/>
          </a:ln>
          <a:effectLst/>
          <a:extLst/>
        </p:spPr>
        <p:txBody>
          <a:bodyPr wrap="none" lIns="54000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100">
                <a:solidFill>
                  <a:srgbClr val="FFFFFF"/>
                </a:solidFill>
                <a:latin typeface="Arial"/>
              </a:rPr>
              <a:t>www.osram-os.com</a:t>
            </a:r>
          </a:p>
        </p:txBody>
      </p:sp>
      <p:pic>
        <p:nvPicPr>
          <p:cNvPr id="5" name="Picture 1" descr="\\FLS-SJC01\PCcommon\Marcom - Public\OS Logos 2013\New Logos October 2013\Office_Multimedia\OSRAM_OS_CorpLogo-RGBpos_2013.jpg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239000" y="5867400"/>
            <a:ext cx="15367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9939" name="Rectangle 3"/>
          <p:cNvSpPr>
            <a:spLocks noGrp="1" noChangeArrowheads="1"/>
          </p:cNvSpPr>
          <p:nvPr>
            <p:ph type="ctrTitle"/>
          </p:nvPr>
        </p:nvSpPr>
        <p:spPr bwMode="gray">
          <a:xfrm>
            <a:off x="539750" y="2647950"/>
            <a:ext cx="8064500" cy="996950"/>
          </a:xfrm>
        </p:spPr>
        <p:txBody>
          <a:bodyPr/>
          <a:lstStyle>
            <a:lvl1pPr>
              <a:defRPr sz="3000"/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en-GB" noProof="0" smtClean="0"/>
          </a:p>
        </p:txBody>
      </p:sp>
      <p:sp>
        <p:nvSpPr>
          <p:cNvPr id="39940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39750" y="3789363"/>
            <a:ext cx="6119813" cy="763200"/>
          </a:xfrm>
        </p:spPr>
        <p:txBody>
          <a:bodyPr anchor="b"/>
          <a:lstStyle>
            <a:lvl1pPr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  <a:endParaRPr lang="en-GB" noProof="0" smtClean="0"/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</a:defRPr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</a:defRPr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</a:defRPr>
            </a:lvl1pPr>
          </a:lstStyle>
          <a:p>
            <a:pPr>
              <a:defRPr/>
            </a:pPr>
            <a:fld id="{3F4B6C62-29BC-47FC-B89F-13E14D382331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9749" y="1357340"/>
            <a:ext cx="3960813" cy="4807964"/>
          </a:xfrm>
          <a:noFill/>
          <a:ln>
            <a:noFill/>
          </a:ln>
          <a:effectLst/>
          <a:extLst/>
        </p:spPr>
        <p:txBody>
          <a:bodyPr/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en-GB"/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3438" y="1357340"/>
            <a:ext cx="3960812" cy="4807964"/>
          </a:xfrm>
          <a:noFill/>
          <a:ln>
            <a:noFill/>
          </a:ln>
          <a:effectLst/>
          <a:extLst/>
        </p:spPr>
        <p:txBody>
          <a:bodyPr/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en-GB"/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</a:defRPr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</a:defRPr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</a:defRPr>
            </a:lvl1pPr>
          </a:lstStyle>
          <a:p>
            <a:pPr>
              <a:defRPr/>
            </a:pPr>
            <a:fld id="{E58334D7-A6AF-4126-B254-4D3BB8CD52CA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</a:defRPr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</a:defRPr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</a:defRPr>
            </a:lvl1pPr>
          </a:lstStyle>
          <a:p>
            <a:pPr>
              <a:defRPr/>
            </a:pPr>
            <a:fld id="{60666886-5C2F-4A5A-B238-42927F89779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9144000" cy="6308725"/>
          </a:xfr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gray">
          <a:xfrm>
            <a:off x="539750" y="4857751"/>
            <a:ext cx="8064500" cy="1101724"/>
          </a:xfrm>
          <a:noFill/>
          <a:ln>
            <a:noFill/>
          </a:ln>
          <a:effectLst/>
          <a:extLst/>
        </p:spPr>
        <p:txBody>
          <a:bodyPr anchor="b"/>
          <a:lstStyle>
            <a:lvl1pPr>
              <a:defRPr lang="en-GB" sz="2400" kern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5" name="Datumsplatzhalter 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</a:defRPr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</a:defRPr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de-DE"/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</a:defRPr>
            </a:lvl1pPr>
          </a:lstStyle>
          <a:p>
            <a:pPr>
              <a:defRPr/>
            </a:pPr>
            <a:fld id="{4C7DD620-2B4D-4343-B532-2BD2E20DCEBD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9144000" cy="5516563"/>
          </a:xfr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539750" y="5517232"/>
            <a:ext cx="3960813" cy="792088"/>
          </a:xfrm>
          <a:noFill/>
          <a:ln>
            <a:noFill/>
          </a:ln>
          <a:effectLst/>
          <a:extLst/>
        </p:spPr>
        <p:txBody>
          <a:bodyPr tIns="36000"/>
          <a:lstStyle>
            <a:lvl1pPr>
              <a:lnSpc>
                <a:spcPct val="100000"/>
              </a:lnSpc>
              <a:defRPr lang="en-GB" sz="1500" b="0" kern="1200" noProof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defRPr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gray">
          <a:xfrm>
            <a:off x="4643438" y="5516563"/>
            <a:ext cx="3960812" cy="792162"/>
          </a:xfrm>
          <a:noFill/>
          <a:ln>
            <a:noFill/>
          </a:ln>
          <a:effectLst/>
          <a:extLst/>
        </p:spPr>
        <p:txBody>
          <a:bodyPr tIns="36000"/>
          <a:lstStyle>
            <a:lvl1pPr>
              <a:lnSpc>
                <a:spcPct val="100000"/>
              </a:lnSpc>
              <a:defRPr lang="en-GB" sz="1500" b="0" kern="1200" noProof="0" smtClean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5" name="Datumsplatzhalter 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</a:defRPr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</a:defRPr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de-DE"/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</a:defRPr>
            </a:lvl1pPr>
          </a:lstStyle>
          <a:p>
            <a:pPr>
              <a:defRPr/>
            </a:pPr>
            <a:fld id="{BFC27EC7-0788-495C-BABD-B71C1218EFC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</a:defRPr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</a:defRPr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smtClean="0">
                <a:latin typeface="Arial" charset="0"/>
              </a:defRPr>
            </a:lvl1pPr>
          </a:lstStyle>
          <a:p>
            <a:pPr>
              <a:defRPr/>
            </a:pPr>
            <a:fld id="{40A0FD29-BB0A-412B-A278-90F75F131761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1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62825" y="6021388"/>
            <a:ext cx="1231900" cy="484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 bwMode="gray">
          <a:xfrm>
            <a:off x="0" y="0"/>
            <a:ext cx="9144000" cy="6857999"/>
          </a:xfrm>
          <a:custGeom>
            <a:avLst/>
            <a:gdLst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59644 w 9144000"/>
              <a:gd name="connsiteY5" fmla="*/ 2596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84356 w 9144000"/>
              <a:gd name="connsiteY8" fmla="*/ 259644 h 6857999"/>
              <a:gd name="connsiteX9" fmla="*/ 259644 w 9144000"/>
              <a:gd name="connsiteY9" fmla="*/ 259644 h 6857999"/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59644 w 9144000"/>
              <a:gd name="connsiteY5" fmla="*/ 48748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84356 w 9144000"/>
              <a:gd name="connsiteY8" fmla="*/ 259644 h 6857999"/>
              <a:gd name="connsiteX9" fmla="*/ 259644 w 9144000"/>
              <a:gd name="connsiteY9" fmla="*/ 4874844 h 6857999"/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59644 w 9144000"/>
              <a:gd name="connsiteY5" fmla="*/ 48748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77156 w 9144000"/>
              <a:gd name="connsiteY8" fmla="*/ 4666044 h 6857999"/>
              <a:gd name="connsiteX9" fmla="*/ 259644 w 9144000"/>
              <a:gd name="connsiteY9" fmla="*/ 4874844 h 6857999"/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59644 w 9144000"/>
              <a:gd name="connsiteY5" fmla="*/ 48748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77156 w 9144000"/>
              <a:gd name="connsiteY8" fmla="*/ 4284444 h 6857999"/>
              <a:gd name="connsiteX9" fmla="*/ 259644 w 9144000"/>
              <a:gd name="connsiteY9" fmla="*/ 4874844 h 6857999"/>
              <a:gd name="connsiteX0" fmla="*/ 0 w 9144000"/>
              <a:gd name="connsiteY0" fmla="*/ 0 h 6857999"/>
              <a:gd name="connsiteX1" fmla="*/ 9144000 w 9144000"/>
              <a:gd name="connsiteY1" fmla="*/ 0 h 6857999"/>
              <a:gd name="connsiteX2" fmla="*/ 9144000 w 9144000"/>
              <a:gd name="connsiteY2" fmla="*/ 6857999 h 6857999"/>
              <a:gd name="connsiteX3" fmla="*/ 0 w 9144000"/>
              <a:gd name="connsiteY3" fmla="*/ 6857999 h 6857999"/>
              <a:gd name="connsiteX4" fmla="*/ 0 w 9144000"/>
              <a:gd name="connsiteY4" fmla="*/ 0 h 6857999"/>
              <a:gd name="connsiteX5" fmla="*/ 266844 w 9144000"/>
              <a:gd name="connsiteY5" fmla="*/ 4284444 h 6857999"/>
              <a:gd name="connsiteX6" fmla="*/ 259644 w 9144000"/>
              <a:gd name="connsiteY6" fmla="*/ 6598355 h 6857999"/>
              <a:gd name="connsiteX7" fmla="*/ 8884356 w 9144000"/>
              <a:gd name="connsiteY7" fmla="*/ 6598355 h 6857999"/>
              <a:gd name="connsiteX8" fmla="*/ 8877156 w 9144000"/>
              <a:gd name="connsiteY8" fmla="*/ 4284444 h 6857999"/>
              <a:gd name="connsiteX9" fmla="*/ 266844 w 9144000"/>
              <a:gd name="connsiteY9" fmla="*/ 4284444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44000" h="6857999">
                <a:moveTo>
                  <a:pt x="0" y="0"/>
                </a:moveTo>
                <a:lnTo>
                  <a:pt x="9144000" y="0"/>
                </a:lnTo>
                <a:lnTo>
                  <a:pt x="9144000" y="6857999"/>
                </a:lnTo>
                <a:lnTo>
                  <a:pt x="0" y="6857999"/>
                </a:lnTo>
                <a:lnTo>
                  <a:pt x="0" y="0"/>
                </a:lnTo>
                <a:close/>
                <a:moveTo>
                  <a:pt x="266844" y="4284444"/>
                </a:moveTo>
                <a:lnTo>
                  <a:pt x="259644" y="6598355"/>
                </a:lnTo>
                <a:lnTo>
                  <a:pt x="8884356" y="6598355"/>
                </a:lnTo>
                <a:lnTo>
                  <a:pt x="8877156" y="4284444"/>
                </a:lnTo>
                <a:lnTo>
                  <a:pt x="266844" y="4284444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anchor="ctr"/>
          <a:lstStyle>
            <a:lvl1pPr algn="ctr">
              <a:defRPr b="0"/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39939" name="Rectangle 3"/>
          <p:cNvSpPr>
            <a:spLocks noGrp="1" noChangeArrowheads="1"/>
          </p:cNvSpPr>
          <p:nvPr>
            <p:ph type="ctrTitle"/>
          </p:nvPr>
        </p:nvSpPr>
        <p:spPr bwMode="gray">
          <a:xfrm>
            <a:off x="539750" y="4508501"/>
            <a:ext cx="8064500" cy="996950"/>
          </a:xfrm>
        </p:spPr>
        <p:txBody>
          <a:bodyPr/>
          <a:lstStyle>
            <a:lvl1pPr>
              <a:lnSpc>
                <a:spcPct val="100000"/>
              </a:lnSpc>
              <a:defRPr sz="3000"/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en-US" noProof="0" smtClean="0"/>
          </a:p>
        </p:txBody>
      </p:sp>
      <p:sp>
        <p:nvSpPr>
          <p:cNvPr id="39940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39750" y="5661248"/>
            <a:ext cx="6119813" cy="698276"/>
          </a:xfrm>
        </p:spPr>
        <p:txBody>
          <a:bodyPr anchor="b"/>
          <a:lstStyle>
            <a:lvl1pPr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  <a:endParaRPr lang="en-US" noProof="0" smtClean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 bwMode="gray">
          <a:xfrm>
            <a:off x="0" y="404813"/>
            <a:ext cx="9144000" cy="324000"/>
          </a:xfrm>
          <a:solidFill>
            <a:schemeClr val="accent1"/>
          </a:solidFill>
          <a:ln>
            <a:noFill/>
          </a:ln>
        </p:spPr>
        <p:txBody>
          <a:bodyPr lIns="540000" anchor="ctr"/>
          <a:lstStyle>
            <a:lvl1pPr>
              <a:lnSpc>
                <a:spcPct val="100000"/>
              </a:lnSpc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image" Target="../media/image2.jpeg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26" Type="http://schemas.openxmlformats.org/officeDocument/2006/relationships/slideLayout" Target="../slideLayouts/slideLayout59.xml"/><Relationship Id="rId21" Type="http://schemas.openxmlformats.org/officeDocument/2006/relationships/slideLayout" Target="../slideLayouts/slideLayout54.xml"/><Relationship Id="rId34" Type="http://schemas.openxmlformats.org/officeDocument/2006/relationships/slideLayout" Target="../slideLayouts/slideLayout67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5" Type="http://schemas.openxmlformats.org/officeDocument/2006/relationships/slideLayout" Target="../slideLayouts/slideLayout58.xml"/><Relationship Id="rId33" Type="http://schemas.openxmlformats.org/officeDocument/2006/relationships/slideLayout" Target="../slideLayouts/slideLayout66.xml"/><Relationship Id="rId38" Type="http://schemas.openxmlformats.org/officeDocument/2006/relationships/image" Target="../media/image2.jpeg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slideLayout" Target="../slideLayouts/slideLayout53.xml"/><Relationship Id="rId29" Type="http://schemas.openxmlformats.org/officeDocument/2006/relationships/slideLayout" Target="../slideLayouts/slideLayout62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24" Type="http://schemas.openxmlformats.org/officeDocument/2006/relationships/slideLayout" Target="../slideLayouts/slideLayout57.xml"/><Relationship Id="rId32" Type="http://schemas.openxmlformats.org/officeDocument/2006/relationships/slideLayout" Target="../slideLayouts/slideLayout65.xml"/><Relationship Id="rId37" Type="http://schemas.openxmlformats.org/officeDocument/2006/relationships/theme" Target="../theme/theme4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23" Type="http://schemas.openxmlformats.org/officeDocument/2006/relationships/slideLayout" Target="../slideLayouts/slideLayout56.xml"/><Relationship Id="rId28" Type="http://schemas.openxmlformats.org/officeDocument/2006/relationships/slideLayout" Target="../slideLayouts/slideLayout61.xml"/><Relationship Id="rId36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43.xml"/><Relationship Id="rId19" Type="http://schemas.openxmlformats.org/officeDocument/2006/relationships/slideLayout" Target="../slideLayouts/slideLayout52.xml"/><Relationship Id="rId31" Type="http://schemas.openxmlformats.org/officeDocument/2006/relationships/slideLayout" Target="../slideLayouts/slideLayout64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slideLayout" Target="../slideLayouts/slideLayout55.xml"/><Relationship Id="rId27" Type="http://schemas.openxmlformats.org/officeDocument/2006/relationships/slideLayout" Target="../slideLayouts/slideLayout60.xml"/><Relationship Id="rId30" Type="http://schemas.openxmlformats.org/officeDocument/2006/relationships/slideLayout" Target="../slideLayouts/slideLayout63.xml"/><Relationship Id="rId35" Type="http://schemas.openxmlformats.org/officeDocument/2006/relationships/slideLayout" Target="../slideLayouts/slideLayout68.xml"/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539750" y="298450"/>
            <a:ext cx="8064500" cy="814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  <a:endParaRPr lang="en-US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539750" y="1357313"/>
            <a:ext cx="8064500" cy="4808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smtClean="0"/>
          </a:p>
        </p:txBody>
      </p:sp>
      <p:sp>
        <p:nvSpPr>
          <p:cNvPr id="1035" name="Line 11"/>
          <p:cNvSpPr>
            <a:spLocks noChangeShapeType="1"/>
          </p:cNvSpPr>
          <p:nvPr/>
        </p:nvSpPr>
        <p:spPr bwMode="gray">
          <a:xfrm>
            <a:off x="539750" y="1252538"/>
            <a:ext cx="8064500" cy="0"/>
          </a:xfrm>
          <a:prstGeom prst="line">
            <a:avLst/>
          </a:prstGeom>
          <a:noFill/>
          <a:ln w="19050">
            <a:solidFill>
              <a:srgbClr val="FF66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>
              <a:defRPr/>
            </a:pPr>
            <a:endParaRPr lang="en-US"/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gray">
          <a:xfrm>
            <a:off x="539750" y="6296025"/>
            <a:ext cx="8064500" cy="0"/>
          </a:xfrm>
          <a:prstGeom prst="line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algn="ctr">
              <a:defRPr/>
            </a:pPr>
            <a:endParaRPr lang="en-US" sz="900"/>
          </a:p>
        </p:txBody>
      </p:sp>
      <p:sp>
        <p:nvSpPr>
          <p:cNvPr id="11" name="Text Box 26"/>
          <p:cNvSpPr txBox="1">
            <a:spLocks noChangeArrowheads="1"/>
          </p:cNvSpPr>
          <p:nvPr/>
        </p:nvSpPr>
        <p:spPr bwMode="gray">
          <a:xfrm>
            <a:off x="884238" y="6413500"/>
            <a:ext cx="6280150" cy="1619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/>
          <a:lstStyle/>
          <a:p>
            <a:pPr>
              <a:defRPr/>
            </a:pPr>
            <a:r>
              <a:rPr lang="en-US" sz="900" b="1" dirty="0">
                <a:solidFill>
                  <a:schemeClr val="accent2"/>
                </a:solidFill>
              </a:rPr>
              <a:t>Светодиодное растениеводческое освещение | OS SSL | NR AW</a:t>
            </a:r>
            <a:endParaRPr lang="ru-RU" sz="900" b="1" dirty="0">
              <a:solidFill>
                <a:schemeClr val="accent2"/>
              </a:solidFill>
            </a:endParaRPr>
          </a:p>
        </p:txBody>
      </p:sp>
      <p:sp>
        <p:nvSpPr>
          <p:cNvPr id="12" name="Text Box 27"/>
          <p:cNvSpPr txBox="1">
            <a:spLocks noChangeArrowheads="1"/>
          </p:cNvSpPr>
          <p:nvPr/>
        </p:nvSpPr>
        <p:spPr bwMode="gray">
          <a:xfrm>
            <a:off x="884238" y="6580188"/>
            <a:ext cx="6280150" cy="1619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/>
          <a:lstStyle/>
          <a:p>
            <a:pPr>
              <a:defRPr/>
            </a:pPr>
            <a:r>
              <a:rPr lang="en-US" sz="900" dirty="0">
                <a:solidFill>
                  <a:schemeClr val="accent2"/>
                </a:solidFill>
              </a:rPr>
              <a:t>OSRAM</a:t>
            </a:r>
            <a:r>
              <a:rPr dirty="0"/>
              <a:t> </a:t>
            </a:r>
            <a:r>
              <a:rPr lang="en-US" sz="900" dirty="0">
                <a:solidFill>
                  <a:schemeClr val="accent2"/>
                </a:solidFill>
              </a:rPr>
              <a:t>Opto Semiconductors| март 2015 г.</a:t>
            </a:r>
            <a:endParaRPr lang="ru-RU" sz="900" dirty="0">
              <a:solidFill>
                <a:schemeClr val="accent2"/>
              </a:solidFill>
            </a:endParaRPr>
          </a:p>
        </p:txBody>
      </p:sp>
      <p:sp>
        <p:nvSpPr>
          <p:cNvPr id="13" name="Text Box 28"/>
          <p:cNvSpPr txBox="1">
            <a:spLocks noChangeArrowheads="1"/>
          </p:cNvSpPr>
          <p:nvPr/>
        </p:nvSpPr>
        <p:spPr bwMode="gray">
          <a:xfrm>
            <a:off x="539750" y="6413500"/>
            <a:ext cx="287338" cy="1619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/>
          <a:lstStyle/>
          <a:p>
            <a:pPr>
              <a:defRPr/>
            </a:pPr>
            <a:fld id="{BE32E226-EEF5-41BA-B084-AE3CF79632CA}" type="slidenum">
              <a:rPr lang="en-US" sz="900">
                <a:solidFill>
                  <a:schemeClr val="accent1"/>
                </a:solidFill>
              </a:rPr>
              <a:pPr>
                <a:defRPr/>
              </a:pPr>
              <a:t>‹#›</a:t>
            </a:fld>
            <a:endParaRPr lang="ru-RU" sz="900">
              <a:solidFill>
                <a:schemeClr val="accent1"/>
              </a:solidFill>
            </a:endParaRPr>
          </a:p>
        </p:txBody>
      </p:sp>
      <p:pic>
        <p:nvPicPr>
          <p:cNvPr id="1033" name="Bild 1"/>
          <p:cNvPicPr>
            <a:picLocks noChangeAspect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978775" y="6453188"/>
            <a:ext cx="615950" cy="24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47" r:id="rId1"/>
    <p:sldLayoutId id="2147483948" r:id="rId2"/>
    <p:sldLayoutId id="2147483917" r:id="rId3"/>
    <p:sldLayoutId id="2147483918" r:id="rId4"/>
    <p:sldLayoutId id="2147483919" r:id="rId5"/>
    <p:sldLayoutId id="2147483920" r:id="rId6"/>
    <p:sldLayoutId id="2147483921" r:id="rId7"/>
    <p:sldLayoutId id="2147483922" r:id="rId8"/>
    <p:sldLayoutId id="2147483949" r:id="rId9"/>
    <p:sldLayoutId id="2147483923" r:id="rId10"/>
    <p:sldLayoutId id="2147483924" r:id="rId11"/>
  </p:sldLayoutIdLst>
  <p:hf hdr="0"/>
  <p:txStyles>
    <p:titleStyle>
      <a:lvl1pPr algn="l" rtl="0" fontAlgn="base">
        <a:lnSpc>
          <a:spcPct val="110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fontAlgn="base">
        <a:lnSpc>
          <a:spcPct val="110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2pPr>
      <a:lvl3pPr algn="l" rtl="0" fontAlgn="base">
        <a:lnSpc>
          <a:spcPct val="110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3pPr>
      <a:lvl4pPr algn="l" rtl="0" fontAlgn="base">
        <a:lnSpc>
          <a:spcPct val="110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4pPr>
      <a:lvl5pPr algn="l" rtl="0" fontAlgn="base">
        <a:lnSpc>
          <a:spcPct val="110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200" b="1">
          <a:solidFill>
            <a:schemeClr val="accent1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200" b="1">
          <a:solidFill>
            <a:schemeClr val="accent1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200" b="1">
          <a:solidFill>
            <a:schemeClr val="accent1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200" b="1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342900" indent="-342900" algn="l" rtl="0" fontAlgn="base">
        <a:lnSpc>
          <a:spcPct val="110000"/>
        </a:lnSpc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+mn-lt"/>
          <a:ea typeface="+mn-ea"/>
          <a:cs typeface="+mn-cs"/>
        </a:defRPr>
      </a:lvl1pPr>
      <a:lvl2pPr marL="1588" indent="455613" algn="l" rtl="0" fontAlgn="base">
        <a:lnSpc>
          <a:spcPct val="110000"/>
        </a:lnSpc>
        <a:spcBef>
          <a:spcPct val="0"/>
        </a:spcBef>
        <a:spcAft>
          <a:spcPct val="0"/>
        </a:spcAft>
        <a:defRPr sz="1500">
          <a:solidFill>
            <a:schemeClr val="tx1"/>
          </a:solidFill>
          <a:latin typeface="+mn-lt"/>
          <a:cs typeface="+mn-cs"/>
        </a:defRPr>
      </a:lvl2pPr>
      <a:lvl3pPr marL="149225" indent="-146050" algn="l" rtl="0" fontAlgn="base">
        <a:lnSpc>
          <a:spcPct val="110000"/>
        </a:lnSpc>
        <a:spcBef>
          <a:spcPct val="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  <a:cs typeface="+mn-cs"/>
        </a:defRPr>
      </a:lvl3pPr>
      <a:lvl4pPr marL="304800" indent="-153988" algn="l" rtl="0" fontAlgn="base">
        <a:lnSpc>
          <a:spcPct val="110000"/>
        </a:lnSpc>
        <a:spcBef>
          <a:spcPct val="0"/>
        </a:spcBef>
        <a:spcAft>
          <a:spcPct val="0"/>
        </a:spcAft>
        <a:buFont typeface="Arial" charset="0"/>
        <a:buChar char="•"/>
        <a:defRPr sz="1500">
          <a:solidFill>
            <a:schemeClr val="tx1"/>
          </a:solidFill>
          <a:latin typeface="+mn-lt"/>
          <a:cs typeface="+mn-cs"/>
        </a:defRPr>
      </a:lvl4pPr>
      <a:lvl5pPr marL="485775" indent="-161925" algn="l" rtl="0" fontAlgn="base">
        <a:lnSpc>
          <a:spcPct val="110000"/>
        </a:lnSpc>
        <a:spcBef>
          <a:spcPct val="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  <a:cs typeface="+mn-cs"/>
        </a:defRPr>
      </a:lvl5pPr>
      <a:lvl6pPr marL="996950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cs typeface="+mn-cs"/>
        </a:defRPr>
      </a:lvl6pPr>
      <a:lvl7pPr marL="1454150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cs typeface="+mn-cs"/>
        </a:defRPr>
      </a:lvl7pPr>
      <a:lvl8pPr marL="1911350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cs typeface="+mn-cs"/>
        </a:defRPr>
      </a:lvl8pPr>
      <a:lvl9pPr marL="2368550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539750" y="311150"/>
            <a:ext cx="8064500" cy="814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Titelmasterformat durch Klicken bearbeiten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539750" y="1357313"/>
            <a:ext cx="8064500" cy="4808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Textmasterformate durch Klicken bearbeiten</a:t>
            </a:r>
          </a:p>
          <a:p>
            <a:pPr lvl="1"/>
            <a:r>
              <a:rPr lang="en-GB" smtClean="0"/>
              <a:t>Zweite Ebene</a:t>
            </a:r>
          </a:p>
          <a:p>
            <a:pPr lvl="2"/>
            <a:r>
              <a:rPr lang="en-GB" smtClean="0"/>
              <a:t>Dritte Ebene</a:t>
            </a:r>
          </a:p>
          <a:p>
            <a:pPr lvl="3"/>
            <a:r>
              <a:rPr lang="en-GB" smtClean="0"/>
              <a:t>Vierte Ebene</a:t>
            </a:r>
          </a:p>
          <a:p>
            <a:pPr lvl="4"/>
            <a:r>
              <a:rPr lang="en-GB" smtClean="0"/>
              <a:t>Fünfte Eben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882650" y="6415088"/>
            <a:ext cx="6281738" cy="1635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 b="1" smtClean="0">
                <a:solidFill>
                  <a:srgbClr val="58585A"/>
                </a:solidFill>
                <a:latin typeface="Arial"/>
                <a:cs typeface="+mn-cs"/>
              </a:defRPr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de-DE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882650" y="6577013"/>
            <a:ext cx="6281738" cy="1635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 smtClean="0">
                <a:solidFill>
                  <a:srgbClr val="58585A"/>
                </a:solidFill>
                <a:latin typeface="Arial"/>
                <a:cs typeface="+mn-cs"/>
              </a:defRPr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de-DE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542925" y="6415088"/>
            <a:ext cx="284163" cy="1635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 smtClean="0">
                <a:solidFill>
                  <a:srgbClr val="FF0000"/>
                </a:solidFill>
                <a:latin typeface="Arial"/>
                <a:cs typeface="+mn-cs"/>
              </a:defRPr>
            </a:lvl1pPr>
          </a:lstStyle>
          <a:p>
            <a:pPr>
              <a:defRPr/>
            </a:pPr>
            <a:fld id="{55ACDD62-AD01-4EE7-A5C1-0D6630C70EA9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1035" name="Line 11"/>
          <p:cNvSpPr>
            <a:spLocks noChangeShapeType="1"/>
          </p:cNvSpPr>
          <p:nvPr/>
        </p:nvSpPr>
        <p:spPr bwMode="gray">
          <a:xfrm>
            <a:off x="539750" y="1252538"/>
            <a:ext cx="8064500" cy="0"/>
          </a:xfrm>
          <a:prstGeom prst="line">
            <a:avLst/>
          </a:prstGeom>
          <a:noFill/>
          <a:ln w="19050">
            <a:solidFill>
              <a:srgbClr val="FF66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gray">
          <a:xfrm>
            <a:off x="539750" y="6296025"/>
            <a:ext cx="8064500" cy="0"/>
          </a:xfrm>
          <a:prstGeom prst="line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900">
              <a:solidFill>
                <a:srgbClr val="000000"/>
              </a:solidFill>
              <a:latin typeface="Arial"/>
              <a:cs typeface="+mn-cs"/>
            </a:endParaRPr>
          </a:p>
        </p:txBody>
      </p:sp>
      <p:pic>
        <p:nvPicPr>
          <p:cNvPr id="13321" name="Picture 1" descr="\\FLS-SJC01\PCcommon\Marcom - Public\OS Logos 2013\New Logos October 2013\Office_Multimedia\OSRAM_OS_CorpLogo-RGBpos_2013.jpg"/>
          <p:cNvPicPr>
            <a:picLocks noChangeAspect="1" noChangeArrowheads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885113" y="6308725"/>
            <a:ext cx="8382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50" r:id="rId1"/>
    <p:sldLayoutId id="2147483951" r:id="rId2"/>
    <p:sldLayoutId id="2147483952" r:id="rId3"/>
    <p:sldLayoutId id="2147483953" r:id="rId4"/>
    <p:sldLayoutId id="2147483954" r:id="rId5"/>
    <p:sldLayoutId id="2147483955" r:id="rId6"/>
    <p:sldLayoutId id="2147483956" r:id="rId7"/>
    <p:sldLayoutId id="2147483957" r:id="rId8"/>
    <p:sldLayoutId id="2147483958" r:id="rId9"/>
    <p:sldLayoutId id="2147483959" r:id="rId10"/>
  </p:sldLayoutIdLst>
  <p:hf hdr="0"/>
  <p:txStyles>
    <p:titleStyle>
      <a:lvl1pPr algn="l" rtl="0" fontAlgn="base">
        <a:lnSpc>
          <a:spcPct val="110000"/>
        </a:lnSpc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+mj-lt"/>
          <a:ea typeface="+mj-ea"/>
          <a:cs typeface="+mj-cs"/>
        </a:defRPr>
      </a:lvl1pPr>
      <a:lvl2pPr algn="l" rtl="0" fontAlgn="base">
        <a:lnSpc>
          <a:spcPct val="110000"/>
        </a:lnSpc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  <a:cs typeface="Arial" charset="0"/>
        </a:defRPr>
      </a:lvl2pPr>
      <a:lvl3pPr algn="l" rtl="0" fontAlgn="base">
        <a:lnSpc>
          <a:spcPct val="110000"/>
        </a:lnSpc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  <a:cs typeface="Arial" charset="0"/>
        </a:defRPr>
      </a:lvl3pPr>
      <a:lvl4pPr algn="l" rtl="0" fontAlgn="base">
        <a:lnSpc>
          <a:spcPct val="110000"/>
        </a:lnSpc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  <a:cs typeface="Arial" charset="0"/>
        </a:defRPr>
      </a:lvl4pPr>
      <a:lvl5pPr algn="l" rtl="0" fontAlgn="base">
        <a:lnSpc>
          <a:spcPct val="110000"/>
        </a:lnSpc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200" b="1">
          <a:solidFill>
            <a:schemeClr val="accent1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200" b="1">
          <a:solidFill>
            <a:schemeClr val="accent1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200" b="1">
          <a:solidFill>
            <a:schemeClr val="accent1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200" b="1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342900" indent="-342900" algn="l" rtl="0" fontAlgn="base">
        <a:lnSpc>
          <a:spcPct val="110000"/>
        </a:lnSpc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+mn-lt"/>
          <a:ea typeface="+mn-ea"/>
          <a:cs typeface="+mn-cs"/>
        </a:defRPr>
      </a:lvl1pPr>
      <a:lvl2pPr marL="1588" indent="455613" algn="l" rtl="0" fontAlgn="base">
        <a:lnSpc>
          <a:spcPct val="110000"/>
        </a:lnSpc>
        <a:spcBef>
          <a:spcPct val="0"/>
        </a:spcBef>
        <a:spcAft>
          <a:spcPct val="0"/>
        </a:spcAft>
        <a:defRPr sz="1500">
          <a:solidFill>
            <a:schemeClr val="tx1"/>
          </a:solidFill>
          <a:latin typeface="+mn-lt"/>
          <a:cs typeface="+mn-cs"/>
        </a:defRPr>
      </a:lvl2pPr>
      <a:lvl3pPr marL="149225" indent="-146050" algn="l" rtl="0" fontAlgn="base">
        <a:lnSpc>
          <a:spcPct val="110000"/>
        </a:lnSpc>
        <a:spcBef>
          <a:spcPct val="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  <a:cs typeface="+mn-cs"/>
        </a:defRPr>
      </a:lvl3pPr>
      <a:lvl4pPr marL="355600" indent="-204788" algn="l" rtl="0" fontAlgn="base">
        <a:lnSpc>
          <a:spcPct val="110000"/>
        </a:lnSpc>
        <a:spcBef>
          <a:spcPct val="0"/>
        </a:spcBef>
        <a:spcAft>
          <a:spcPct val="0"/>
        </a:spcAft>
        <a:buChar char="–"/>
        <a:defRPr sz="1500">
          <a:solidFill>
            <a:schemeClr val="tx1"/>
          </a:solidFill>
          <a:latin typeface="+mn-lt"/>
          <a:cs typeface="+mn-cs"/>
        </a:defRPr>
      </a:lvl4pPr>
      <a:lvl5pPr marL="539750" indent="-182563" algn="l" rtl="0" fontAlgn="base">
        <a:lnSpc>
          <a:spcPct val="110000"/>
        </a:lnSpc>
        <a:spcBef>
          <a:spcPct val="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  <a:cs typeface="+mn-cs"/>
        </a:defRPr>
      </a:lvl5pPr>
      <a:lvl6pPr marL="996950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cs typeface="+mn-cs"/>
        </a:defRPr>
      </a:lvl6pPr>
      <a:lvl7pPr marL="1454150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cs typeface="+mn-cs"/>
        </a:defRPr>
      </a:lvl7pPr>
      <a:lvl8pPr marL="1911350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cs typeface="+mn-cs"/>
        </a:defRPr>
      </a:lvl8pPr>
      <a:lvl9pPr marL="2368550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539750" y="311150"/>
            <a:ext cx="8064500" cy="814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Titelmasterformat durch Klicken bearbeiten</a:t>
            </a:r>
          </a:p>
        </p:txBody>
      </p:sp>
      <p:sp>
        <p:nvSpPr>
          <p:cNvPr id="24579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539750" y="1341438"/>
            <a:ext cx="8064500" cy="4824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Textmasterformate durch Klicken bearbeiten</a:t>
            </a:r>
          </a:p>
          <a:p>
            <a:pPr lvl="1"/>
            <a:r>
              <a:rPr lang="en-GB" smtClean="0"/>
              <a:t>Zweite Ebene</a:t>
            </a:r>
          </a:p>
          <a:p>
            <a:pPr lvl="2"/>
            <a:r>
              <a:rPr lang="en-GB" smtClean="0"/>
              <a:t>Dritte Ebene</a:t>
            </a:r>
          </a:p>
          <a:p>
            <a:pPr lvl="3"/>
            <a:r>
              <a:rPr lang="en-GB" smtClean="0"/>
              <a:t>Vierte Ebene</a:t>
            </a:r>
          </a:p>
          <a:p>
            <a:pPr lvl="4"/>
            <a:r>
              <a:rPr lang="en-GB" smtClean="0"/>
              <a:t>Fünfte Ebene</a:t>
            </a:r>
          </a:p>
        </p:txBody>
      </p:sp>
      <p:sp>
        <p:nvSpPr>
          <p:cNvPr id="1035" name="Line 11"/>
          <p:cNvSpPr>
            <a:spLocks noChangeShapeType="1"/>
          </p:cNvSpPr>
          <p:nvPr/>
        </p:nvSpPr>
        <p:spPr bwMode="gray">
          <a:xfrm>
            <a:off x="539750" y="1252538"/>
            <a:ext cx="8064500" cy="0"/>
          </a:xfrm>
          <a:prstGeom prst="line">
            <a:avLst/>
          </a:prstGeom>
          <a:noFill/>
          <a:ln w="19050">
            <a:solidFill>
              <a:srgbClr val="FF6600"/>
            </a:solidFill>
            <a:round/>
            <a:headEnd/>
            <a:tailEnd/>
          </a:ln>
          <a:effectLst/>
        </p:spPr>
        <p:txBody>
          <a:bodyPr/>
          <a:lstStyle/>
          <a:p>
            <a:pPr algn="ctr">
              <a:defRPr/>
            </a:pPr>
            <a:endParaRPr lang="de-DE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gray">
          <a:xfrm>
            <a:off x="539750" y="6296025"/>
            <a:ext cx="8064500" cy="0"/>
          </a:xfrm>
          <a:prstGeom prst="line">
            <a:avLst/>
          </a:prstGeom>
          <a:noFill/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/>
          <a:lstStyle/>
          <a:p>
            <a:pPr algn="ctr">
              <a:defRPr/>
            </a:pPr>
            <a:endParaRPr lang="de-DE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1" name="Rectangle 4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882650" y="6415088"/>
            <a:ext cx="6281738" cy="1635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defRPr sz="900" b="1" smtClean="0">
                <a:solidFill>
                  <a:srgbClr val="58585A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en-GB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882650" y="6577013"/>
            <a:ext cx="6281738" cy="1635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900" smtClean="0">
                <a:solidFill>
                  <a:srgbClr val="58585A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en-GB" dirty="0"/>
          </a:p>
        </p:txBody>
      </p:sp>
      <p:sp>
        <p:nvSpPr>
          <p:cNvPr id="13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542925" y="6415088"/>
            <a:ext cx="284163" cy="1635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defRPr sz="900" smtClean="0">
                <a:solidFill>
                  <a:srgbClr val="FF0000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931A8CB0-95C8-4B6E-9C9E-619C7032349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pic>
        <p:nvPicPr>
          <p:cNvPr id="24585" name="Picture 1" descr="\\FLS-SJC01\PCcommon\Marcom - Public\OS Logos 2013\New Logos October 2013\Office_Multimedia\OSRAM_OS_CorpLogo-RGBpos_2013.jpg"/>
          <p:cNvPicPr>
            <a:picLocks noChangeAspect="1" noChangeArrowheads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910513" y="6400800"/>
            <a:ext cx="8382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  <p:sldLayoutId id="2147483964" r:id="rId5"/>
    <p:sldLayoutId id="2147483965" r:id="rId6"/>
    <p:sldLayoutId id="2147483966" r:id="rId7"/>
    <p:sldLayoutId id="2147483967" r:id="rId8"/>
    <p:sldLayoutId id="2147483968" r:id="rId9"/>
    <p:sldLayoutId id="2147483969" r:id="rId10"/>
    <p:sldLayoutId id="2147483970" r:id="rId11"/>
    <p:sldLayoutId id="2147483971" r:id="rId12"/>
  </p:sldLayoutIdLst>
  <p:hf hdr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  <a:cs typeface="Arial" charset="0"/>
        </a:defRPr>
      </a:lvl5pPr>
      <a:lvl6pPr marL="457200" algn="l" rtl="0" fontAlgn="base">
        <a:lnSpc>
          <a:spcPct val="110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6pPr>
      <a:lvl7pPr marL="914400" algn="l" rtl="0" fontAlgn="base">
        <a:lnSpc>
          <a:spcPct val="110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7pPr>
      <a:lvl8pPr marL="1371600" algn="l" rtl="0" fontAlgn="base">
        <a:lnSpc>
          <a:spcPct val="110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8pPr>
      <a:lvl9pPr marL="1828800" algn="l" rtl="0" fontAlgn="base">
        <a:lnSpc>
          <a:spcPct val="110000"/>
        </a:lnSpc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+mn-lt"/>
          <a:ea typeface="+mn-ea"/>
          <a:cs typeface="+mn-cs"/>
        </a:defRPr>
      </a:lvl1pPr>
      <a:lvl2pPr marL="1588" indent="455613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1500">
          <a:solidFill>
            <a:schemeClr val="tx1"/>
          </a:solidFill>
          <a:latin typeface="+mn-lt"/>
          <a:cs typeface="+mn-cs"/>
        </a:defRPr>
      </a:lvl2pPr>
      <a:lvl3pPr marL="149225" indent="-1460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  <a:cs typeface="+mn-cs"/>
        </a:defRPr>
      </a:lvl3pPr>
      <a:lvl4pPr marL="355600" indent="-204788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har char="–"/>
        <a:defRPr sz="1500">
          <a:solidFill>
            <a:schemeClr val="tx1"/>
          </a:solidFill>
          <a:latin typeface="+mn-lt"/>
          <a:cs typeface="+mn-cs"/>
        </a:defRPr>
      </a:lvl4pPr>
      <a:lvl5pPr marL="539750" indent="-182563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  <a:cs typeface="+mn-cs"/>
        </a:defRPr>
      </a:lvl5pPr>
      <a:lvl6pPr marL="996950" indent="-182563" algn="l" rtl="0" fontAlgn="base">
        <a:lnSpc>
          <a:spcPct val="110000"/>
        </a:lnSpc>
        <a:spcBef>
          <a:spcPct val="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  <a:cs typeface="+mn-cs"/>
        </a:defRPr>
      </a:lvl6pPr>
      <a:lvl7pPr marL="1454150" indent="-182563" algn="l" rtl="0" fontAlgn="base">
        <a:lnSpc>
          <a:spcPct val="110000"/>
        </a:lnSpc>
        <a:spcBef>
          <a:spcPct val="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  <a:cs typeface="+mn-cs"/>
        </a:defRPr>
      </a:lvl7pPr>
      <a:lvl8pPr marL="1911350" indent="-182563" algn="l" rtl="0" fontAlgn="base">
        <a:lnSpc>
          <a:spcPct val="110000"/>
        </a:lnSpc>
        <a:spcBef>
          <a:spcPct val="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  <a:cs typeface="+mn-cs"/>
        </a:defRPr>
      </a:lvl8pPr>
      <a:lvl9pPr marL="2368550" indent="-182563" algn="l" rtl="0" fontAlgn="base">
        <a:lnSpc>
          <a:spcPct val="110000"/>
        </a:lnSpc>
        <a:spcBef>
          <a:spcPct val="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539750" y="311150"/>
            <a:ext cx="8064500" cy="814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539750" y="1357313"/>
            <a:ext cx="8064500" cy="4808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882650" y="6415088"/>
            <a:ext cx="6281738" cy="1635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 b="1" smtClean="0">
                <a:solidFill>
                  <a:srgbClr val="58585A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en-US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882650" y="6577013"/>
            <a:ext cx="6281738" cy="1635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 smtClean="0">
                <a:solidFill>
                  <a:srgbClr val="58585A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en-US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542925" y="6415088"/>
            <a:ext cx="284163" cy="1635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>
                <a:solidFill>
                  <a:srgbClr val="FF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3E3F6B1-1C8A-4288-8EAB-5AFD26C80D5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35" name="Line 11"/>
          <p:cNvSpPr>
            <a:spLocks noChangeShapeType="1"/>
          </p:cNvSpPr>
          <p:nvPr/>
        </p:nvSpPr>
        <p:spPr bwMode="gray">
          <a:xfrm>
            <a:off x="539750" y="1252538"/>
            <a:ext cx="8064500" cy="0"/>
          </a:xfrm>
          <a:prstGeom prst="line">
            <a:avLst/>
          </a:prstGeom>
          <a:noFill/>
          <a:ln w="19050">
            <a:solidFill>
              <a:srgbClr val="FF66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gray">
          <a:xfrm>
            <a:off x="539750" y="6296025"/>
            <a:ext cx="8064500" cy="0"/>
          </a:xfrm>
          <a:prstGeom prst="line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9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" name="Line 12"/>
          <p:cNvSpPr>
            <a:spLocks noChangeShapeType="1"/>
          </p:cNvSpPr>
          <p:nvPr/>
        </p:nvSpPr>
        <p:spPr bwMode="gray">
          <a:xfrm>
            <a:off x="533400" y="6324600"/>
            <a:ext cx="8064500" cy="0"/>
          </a:xfrm>
          <a:prstGeom prst="line">
            <a:avLst/>
          </a:prstGeom>
          <a:noFill/>
          <a:ln w="19050">
            <a:solidFill>
              <a:schemeClr val="bg2">
                <a:lumMod val="50000"/>
              </a:schemeClr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90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37898" name="Picture 1" descr="\\FLS-SJC01\PCcommon\Marcom - Public\OS Logos 2013\New Logos October 2013\Office_Multimedia\OSRAM_OS_CorpLogo-RGBpos_2013.jpg"/>
          <p:cNvPicPr>
            <a:picLocks noChangeAspect="1" noChangeArrowheads="1"/>
          </p:cNvPicPr>
          <p:nvPr userDrawn="1"/>
        </p:nvPicPr>
        <p:blipFill>
          <a:blip r:embed="rId3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885113" y="6308725"/>
            <a:ext cx="8382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74" r:id="rId3"/>
    <p:sldLayoutId id="2147483975" r:id="rId4"/>
    <p:sldLayoutId id="2147483976" r:id="rId5"/>
    <p:sldLayoutId id="2147483925" r:id="rId6"/>
    <p:sldLayoutId id="2147483977" r:id="rId7"/>
    <p:sldLayoutId id="2147483926" r:id="rId8"/>
    <p:sldLayoutId id="2147483927" r:id="rId9"/>
    <p:sldLayoutId id="2147483928" r:id="rId10"/>
    <p:sldLayoutId id="2147483929" r:id="rId11"/>
    <p:sldLayoutId id="2147483930" r:id="rId12"/>
    <p:sldLayoutId id="2147483931" r:id="rId13"/>
    <p:sldLayoutId id="2147483932" r:id="rId14"/>
    <p:sldLayoutId id="2147483978" r:id="rId15"/>
    <p:sldLayoutId id="2147483933" r:id="rId16"/>
    <p:sldLayoutId id="2147483934" r:id="rId17"/>
    <p:sldLayoutId id="2147483935" r:id="rId18"/>
    <p:sldLayoutId id="2147483936" r:id="rId19"/>
    <p:sldLayoutId id="2147483979" r:id="rId20"/>
    <p:sldLayoutId id="2147483937" r:id="rId21"/>
    <p:sldLayoutId id="2147483980" r:id="rId22"/>
    <p:sldLayoutId id="2147483938" r:id="rId23"/>
    <p:sldLayoutId id="2147483939" r:id="rId24"/>
    <p:sldLayoutId id="2147483981" r:id="rId25"/>
    <p:sldLayoutId id="2147483940" r:id="rId26"/>
    <p:sldLayoutId id="2147483941" r:id="rId27"/>
    <p:sldLayoutId id="2147483982" r:id="rId28"/>
    <p:sldLayoutId id="2147483942" r:id="rId29"/>
    <p:sldLayoutId id="2147483943" r:id="rId30"/>
    <p:sldLayoutId id="2147483944" r:id="rId31"/>
    <p:sldLayoutId id="2147483983" r:id="rId32"/>
    <p:sldLayoutId id="2147483945" r:id="rId33"/>
    <p:sldLayoutId id="2147483946" r:id="rId34"/>
    <p:sldLayoutId id="2147483984" r:id="rId35"/>
    <p:sldLayoutId id="2147483985" r:id="rId36"/>
  </p:sldLayoutIdLst>
  <p:hf hdr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200" b="1">
          <a:solidFill>
            <a:schemeClr val="accent1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200" b="1">
          <a:solidFill>
            <a:schemeClr val="accent1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200" b="1">
          <a:solidFill>
            <a:schemeClr val="accent1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200" b="1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+mn-lt"/>
          <a:ea typeface="+mn-ea"/>
          <a:cs typeface="+mn-cs"/>
        </a:defRPr>
      </a:lvl1pPr>
      <a:lvl2pPr marL="1588" indent="455613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1500">
          <a:solidFill>
            <a:schemeClr val="tx1"/>
          </a:solidFill>
          <a:latin typeface="+mn-lt"/>
          <a:cs typeface="+mn-cs"/>
        </a:defRPr>
      </a:lvl2pPr>
      <a:lvl3pPr marL="149225" indent="-1460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  <a:cs typeface="+mn-cs"/>
        </a:defRPr>
      </a:lvl3pPr>
      <a:lvl4pPr marL="355600" indent="-204788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har char="–"/>
        <a:defRPr sz="1500">
          <a:solidFill>
            <a:schemeClr val="tx1"/>
          </a:solidFill>
          <a:latin typeface="+mn-lt"/>
          <a:cs typeface="+mn-cs"/>
        </a:defRPr>
      </a:lvl4pPr>
      <a:lvl5pPr marL="539750" indent="-182563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  <a:cs typeface="+mn-cs"/>
        </a:defRPr>
      </a:lvl5pPr>
      <a:lvl6pPr marL="996950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cs typeface="+mn-cs"/>
        </a:defRPr>
      </a:lvl6pPr>
      <a:lvl7pPr marL="1454150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cs typeface="+mn-cs"/>
        </a:defRPr>
      </a:lvl7pPr>
      <a:lvl8pPr marL="1911350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cs typeface="+mn-cs"/>
        </a:defRPr>
      </a:lvl8pPr>
      <a:lvl9pPr marL="2368550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539750" y="311150"/>
            <a:ext cx="8064500" cy="814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Titelmasterformat durch Klicken bearbeiten</a:t>
            </a:r>
          </a:p>
        </p:txBody>
      </p:sp>
      <p:sp>
        <p:nvSpPr>
          <p:cNvPr id="75779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539750" y="1357313"/>
            <a:ext cx="8064500" cy="4808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Textmasterformate durch Klicken bearbeiten</a:t>
            </a:r>
          </a:p>
          <a:p>
            <a:pPr lvl="1"/>
            <a:r>
              <a:rPr lang="en-GB" smtClean="0"/>
              <a:t>Zweite Ebene</a:t>
            </a:r>
          </a:p>
          <a:p>
            <a:pPr lvl="2"/>
            <a:r>
              <a:rPr lang="en-GB" smtClean="0"/>
              <a:t>Dritte Ebene</a:t>
            </a:r>
          </a:p>
          <a:p>
            <a:pPr lvl="3"/>
            <a:r>
              <a:rPr lang="en-GB" smtClean="0"/>
              <a:t>Vierte Ebene</a:t>
            </a:r>
          </a:p>
          <a:p>
            <a:pPr lvl="4"/>
            <a:r>
              <a:rPr lang="en-GB" smtClean="0"/>
              <a:t>Fünfte Eben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882650" y="6415088"/>
            <a:ext cx="6281738" cy="1635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 b="1" smtClean="0">
                <a:solidFill>
                  <a:srgbClr val="58585A"/>
                </a:solidFill>
                <a:latin typeface="Arial"/>
                <a:cs typeface="+mn-cs"/>
              </a:defRPr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de-DE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882650" y="6577013"/>
            <a:ext cx="6281738" cy="1635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 smtClean="0">
                <a:solidFill>
                  <a:srgbClr val="58585A"/>
                </a:solidFill>
                <a:latin typeface="Arial"/>
                <a:cs typeface="+mn-cs"/>
              </a:defRPr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de-DE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542925" y="6415088"/>
            <a:ext cx="284163" cy="1635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 smtClean="0">
                <a:solidFill>
                  <a:srgbClr val="FF0000"/>
                </a:solidFill>
                <a:latin typeface="Arial"/>
                <a:cs typeface="+mn-cs"/>
              </a:defRPr>
            </a:lvl1pPr>
          </a:lstStyle>
          <a:p>
            <a:pPr>
              <a:defRPr/>
            </a:pPr>
            <a:fld id="{3668EED9-F30F-4F74-8214-58AFA569D0A8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1035" name="Line 11"/>
          <p:cNvSpPr>
            <a:spLocks noChangeShapeType="1"/>
          </p:cNvSpPr>
          <p:nvPr/>
        </p:nvSpPr>
        <p:spPr bwMode="gray">
          <a:xfrm>
            <a:off x="539750" y="1252538"/>
            <a:ext cx="8064500" cy="0"/>
          </a:xfrm>
          <a:prstGeom prst="line">
            <a:avLst/>
          </a:prstGeom>
          <a:noFill/>
          <a:ln w="19050">
            <a:solidFill>
              <a:srgbClr val="FF66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gray">
          <a:xfrm>
            <a:off x="539750" y="6296025"/>
            <a:ext cx="8064500" cy="0"/>
          </a:xfrm>
          <a:prstGeom prst="line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900">
              <a:solidFill>
                <a:srgbClr val="000000"/>
              </a:solidFill>
              <a:latin typeface="Arial"/>
              <a:cs typeface="+mn-cs"/>
            </a:endParaRPr>
          </a:p>
        </p:txBody>
      </p:sp>
      <p:pic>
        <p:nvPicPr>
          <p:cNvPr id="75785" name="Picture 1" descr="\\FLS-SJC01\PCcommon\Marcom - Public\OS Logos 2013\New Logos October 2013\Office_Multimedia\OSRAM_OS_CorpLogo-RGBpos_2013.jpg"/>
          <p:cNvPicPr>
            <a:picLocks noChangeAspect="1" noChangeArrowheads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885113" y="6308725"/>
            <a:ext cx="8382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86" r:id="rId1"/>
    <p:sldLayoutId id="2147483987" r:id="rId2"/>
    <p:sldLayoutId id="2147483988" r:id="rId3"/>
    <p:sldLayoutId id="2147483989" r:id="rId4"/>
    <p:sldLayoutId id="2147483990" r:id="rId5"/>
    <p:sldLayoutId id="2147483991" r:id="rId6"/>
    <p:sldLayoutId id="2147483992" r:id="rId7"/>
    <p:sldLayoutId id="2147483993" r:id="rId8"/>
    <p:sldLayoutId id="2147483994" r:id="rId9"/>
    <p:sldLayoutId id="2147483995" r:id="rId10"/>
  </p:sldLayoutIdLst>
  <p:hf hdr="0"/>
  <p:txStyles>
    <p:titleStyle>
      <a:lvl1pPr algn="l" rtl="0" fontAlgn="base">
        <a:lnSpc>
          <a:spcPct val="110000"/>
        </a:lnSpc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+mj-lt"/>
          <a:ea typeface="+mj-ea"/>
          <a:cs typeface="+mj-cs"/>
        </a:defRPr>
      </a:lvl1pPr>
      <a:lvl2pPr algn="l" rtl="0" fontAlgn="base">
        <a:lnSpc>
          <a:spcPct val="110000"/>
        </a:lnSpc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  <a:cs typeface="Arial" charset="0"/>
        </a:defRPr>
      </a:lvl2pPr>
      <a:lvl3pPr algn="l" rtl="0" fontAlgn="base">
        <a:lnSpc>
          <a:spcPct val="110000"/>
        </a:lnSpc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  <a:cs typeface="Arial" charset="0"/>
        </a:defRPr>
      </a:lvl3pPr>
      <a:lvl4pPr algn="l" rtl="0" fontAlgn="base">
        <a:lnSpc>
          <a:spcPct val="110000"/>
        </a:lnSpc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  <a:cs typeface="Arial" charset="0"/>
        </a:defRPr>
      </a:lvl4pPr>
      <a:lvl5pPr algn="l" rtl="0" fontAlgn="base">
        <a:lnSpc>
          <a:spcPct val="110000"/>
        </a:lnSpc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200" b="1">
          <a:solidFill>
            <a:schemeClr val="accent1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200" b="1">
          <a:solidFill>
            <a:schemeClr val="accent1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200" b="1">
          <a:solidFill>
            <a:schemeClr val="accent1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200" b="1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342900" indent="-342900" algn="l" rtl="0" fontAlgn="base">
        <a:lnSpc>
          <a:spcPct val="110000"/>
        </a:lnSpc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+mn-lt"/>
          <a:ea typeface="+mn-ea"/>
          <a:cs typeface="+mn-cs"/>
        </a:defRPr>
      </a:lvl1pPr>
      <a:lvl2pPr marL="1588" indent="455613" algn="l" rtl="0" fontAlgn="base">
        <a:lnSpc>
          <a:spcPct val="110000"/>
        </a:lnSpc>
        <a:spcBef>
          <a:spcPct val="0"/>
        </a:spcBef>
        <a:spcAft>
          <a:spcPct val="0"/>
        </a:spcAft>
        <a:defRPr sz="1500">
          <a:solidFill>
            <a:schemeClr val="tx1"/>
          </a:solidFill>
          <a:latin typeface="+mn-lt"/>
          <a:cs typeface="+mn-cs"/>
        </a:defRPr>
      </a:lvl2pPr>
      <a:lvl3pPr marL="149225" indent="-146050" algn="l" rtl="0" fontAlgn="base">
        <a:lnSpc>
          <a:spcPct val="110000"/>
        </a:lnSpc>
        <a:spcBef>
          <a:spcPct val="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  <a:cs typeface="+mn-cs"/>
        </a:defRPr>
      </a:lvl3pPr>
      <a:lvl4pPr marL="355600" indent="-204788" algn="l" rtl="0" fontAlgn="base">
        <a:lnSpc>
          <a:spcPct val="110000"/>
        </a:lnSpc>
        <a:spcBef>
          <a:spcPct val="0"/>
        </a:spcBef>
        <a:spcAft>
          <a:spcPct val="0"/>
        </a:spcAft>
        <a:buChar char="–"/>
        <a:defRPr sz="1500">
          <a:solidFill>
            <a:schemeClr val="tx1"/>
          </a:solidFill>
          <a:latin typeface="+mn-lt"/>
          <a:cs typeface="+mn-cs"/>
        </a:defRPr>
      </a:lvl4pPr>
      <a:lvl5pPr marL="539750" indent="-182563" algn="l" rtl="0" fontAlgn="base">
        <a:lnSpc>
          <a:spcPct val="110000"/>
        </a:lnSpc>
        <a:spcBef>
          <a:spcPct val="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  <a:cs typeface="+mn-cs"/>
        </a:defRPr>
      </a:lvl5pPr>
      <a:lvl6pPr marL="996950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cs typeface="+mn-cs"/>
        </a:defRPr>
      </a:lvl6pPr>
      <a:lvl7pPr marL="1454150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cs typeface="+mn-cs"/>
        </a:defRPr>
      </a:lvl7pPr>
      <a:lvl8pPr marL="1911350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cs typeface="+mn-cs"/>
        </a:defRPr>
      </a:lvl8pPr>
      <a:lvl9pPr marL="2368550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539750" y="311150"/>
            <a:ext cx="8064500" cy="814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Titelmasterformat durch Klicken bearbeiten</a:t>
            </a:r>
          </a:p>
        </p:txBody>
      </p:sp>
      <p:sp>
        <p:nvSpPr>
          <p:cNvPr id="87043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539750" y="1357313"/>
            <a:ext cx="8064500" cy="4808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Textmasterformate durch Klicken bearbeiten</a:t>
            </a:r>
          </a:p>
          <a:p>
            <a:pPr lvl="1"/>
            <a:r>
              <a:rPr lang="en-GB" smtClean="0"/>
              <a:t>Zweite Ebene</a:t>
            </a:r>
          </a:p>
          <a:p>
            <a:pPr lvl="2"/>
            <a:r>
              <a:rPr lang="en-GB" smtClean="0"/>
              <a:t>Dritte Ebene</a:t>
            </a:r>
          </a:p>
          <a:p>
            <a:pPr lvl="3"/>
            <a:r>
              <a:rPr lang="en-GB" smtClean="0"/>
              <a:t>Vierte Ebene</a:t>
            </a:r>
          </a:p>
          <a:p>
            <a:pPr lvl="4"/>
            <a:r>
              <a:rPr lang="en-GB" smtClean="0"/>
              <a:t>Fünfte Eben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882650" y="6415088"/>
            <a:ext cx="6281738" cy="1635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 b="1" smtClean="0">
                <a:solidFill>
                  <a:srgbClr val="58585A"/>
                </a:solidFill>
                <a:latin typeface="Arial"/>
              </a:defRPr>
            </a:lvl1pPr>
          </a:lstStyle>
          <a:p>
            <a:pPr>
              <a:defRPr/>
            </a:pPr>
            <a:r>
              <a:rPr lang="de-DE"/>
              <a:t>Horticulture Lighting with LEDs | OS SSL EEM | NR AW</a:t>
            </a:r>
            <a:endParaRPr lang="de-DE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882650" y="6577013"/>
            <a:ext cx="6281738" cy="1635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 smtClean="0">
                <a:solidFill>
                  <a:srgbClr val="58585A"/>
                </a:solidFill>
                <a:latin typeface="Arial"/>
              </a:defRPr>
            </a:lvl1pPr>
          </a:lstStyle>
          <a:p>
            <a:pPr>
              <a:defRPr/>
            </a:pPr>
            <a:r>
              <a:rPr lang="en-US"/>
              <a:t>OSRAM Opto Semiconductors | February 2015</a:t>
            </a:r>
            <a:endParaRPr lang="de-DE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542925" y="6415088"/>
            <a:ext cx="284163" cy="1635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 smtClean="0">
                <a:solidFill>
                  <a:srgbClr val="FF0000"/>
                </a:solidFill>
                <a:latin typeface="Arial"/>
              </a:defRPr>
            </a:lvl1pPr>
          </a:lstStyle>
          <a:p>
            <a:pPr>
              <a:defRPr/>
            </a:pPr>
            <a:fld id="{3B6DC511-98C0-4525-818F-A0D2DB4D6FCD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1035" name="Line 11"/>
          <p:cNvSpPr>
            <a:spLocks noChangeShapeType="1"/>
          </p:cNvSpPr>
          <p:nvPr/>
        </p:nvSpPr>
        <p:spPr bwMode="gray">
          <a:xfrm>
            <a:off x="539750" y="1252538"/>
            <a:ext cx="8064500" cy="0"/>
          </a:xfrm>
          <a:prstGeom prst="line">
            <a:avLst/>
          </a:prstGeom>
          <a:noFill/>
          <a:ln w="19050">
            <a:solidFill>
              <a:srgbClr val="FF6600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gray">
          <a:xfrm>
            <a:off x="539750" y="6296025"/>
            <a:ext cx="8064500" cy="0"/>
          </a:xfrm>
          <a:prstGeom prst="line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90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87049" name="Picture 1" descr="\\FLS-SJC01\PCcommon\Marcom - Public\OS Logos 2013\New Logos October 2013\Office_Multimedia\OSRAM_OS_CorpLogo-RGBpos_2013.jpg"/>
          <p:cNvPicPr>
            <a:picLocks noChangeAspect="1" noChangeArrowheads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885113" y="6308725"/>
            <a:ext cx="8382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96" r:id="rId1"/>
    <p:sldLayoutId id="2147483997" r:id="rId2"/>
    <p:sldLayoutId id="2147483998" r:id="rId3"/>
    <p:sldLayoutId id="2147483999" r:id="rId4"/>
    <p:sldLayoutId id="2147484000" r:id="rId5"/>
    <p:sldLayoutId id="2147484001" r:id="rId6"/>
    <p:sldLayoutId id="2147484002" r:id="rId7"/>
    <p:sldLayoutId id="2147484003" r:id="rId8"/>
    <p:sldLayoutId id="2147484004" r:id="rId9"/>
    <p:sldLayoutId id="2147484005" r:id="rId10"/>
  </p:sldLayoutIdLst>
  <p:hf hdr="0"/>
  <p:txStyles>
    <p:titleStyle>
      <a:lvl1pPr algn="l" rtl="0" fontAlgn="base">
        <a:lnSpc>
          <a:spcPct val="110000"/>
        </a:lnSpc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+mj-lt"/>
          <a:ea typeface="+mj-ea"/>
          <a:cs typeface="+mj-cs"/>
        </a:defRPr>
      </a:lvl1pPr>
      <a:lvl2pPr algn="l" rtl="0" fontAlgn="base">
        <a:lnSpc>
          <a:spcPct val="110000"/>
        </a:lnSpc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  <a:cs typeface="Arial" charset="0"/>
        </a:defRPr>
      </a:lvl2pPr>
      <a:lvl3pPr algn="l" rtl="0" fontAlgn="base">
        <a:lnSpc>
          <a:spcPct val="110000"/>
        </a:lnSpc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  <a:cs typeface="Arial" charset="0"/>
        </a:defRPr>
      </a:lvl3pPr>
      <a:lvl4pPr algn="l" rtl="0" fontAlgn="base">
        <a:lnSpc>
          <a:spcPct val="110000"/>
        </a:lnSpc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  <a:cs typeface="Arial" charset="0"/>
        </a:defRPr>
      </a:lvl4pPr>
      <a:lvl5pPr algn="l" rtl="0" fontAlgn="base">
        <a:lnSpc>
          <a:spcPct val="110000"/>
        </a:lnSpc>
        <a:spcBef>
          <a:spcPct val="0"/>
        </a:spcBef>
        <a:spcAft>
          <a:spcPct val="0"/>
        </a:spcAft>
        <a:defRPr sz="2400" b="1">
          <a:solidFill>
            <a:srgbClr val="FF6600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200" b="1">
          <a:solidFill>
            <a:schemeClr val="accent1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200" b="1">
          <a:solidFill>
            <a:schemeClr val="accent1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200" b="1">
          <a:solidFill>
            <a:schemeClr val="accent1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defRPr sz="2200" b="1">
          <a:solidFill>
            <a:schemeClr val="accent1"/>
          </a:solidFill>
          <a:latin typeface="Arial" charset="0"/>
          <a:cs typeface="Arial" charset="0"/>
        </a:defRPr>
      </a:lvl9pPr>
    </p:titleStyle>
    <p:bodyStyle>
      <a:lvl1pPr marL="342900" indent="-342900" algn="l" rtl="0" fontAlgn="base">
        <a:lnSpc>
          <a:spcPct val="110000"/>
        </a:lnSpc>
        <a:spcBef>
          <a:spcPct val="0"/>
        </a:spcBef>
        <a:spcAft>
          <a:spcPct val="0"/>
        </a:spcAft>
        <a:defRPr b="1">
          <a:solidFill>
            <a:schemeClr val="accent2"/>
          </a:solidFill>
          <a:latin typeface="+mn-lt"/>
          <a:ea typeface="+mn-ea"/>
          <a:cs typeface="+mn-cs"/>
        </a:defRPr>
      </a:lvl1pPr>
      <a:lvl2pPr marL="1588" indent="455613" algn="l" rtl="0" fontAlgn="base">
        <a:lnSpc>
          <a:spcPct val="110000"/>
        </a:lnSpc>
        <a:spcBef>
          <a:spcPct val="0"/>
        </a:spcBef>
        <a:spcAft>
          <a:spcPct val="0"/>
        </a:spcAft>
        <a:defRPr sz="1500">
          <a:solidFill>
            <a:schemeClr val="tx1"/>
          </a:solidFill>
          <a:latin typeface="+mn-lt"/>
          <a:cs typeface="+mn-cs"/>
        </a:defRPr>
      </a:lvl2pPr>
      <a:lvl3pPr marL="149225" indent="-146050" algn="l" rtl="0" fontAlgn="base">
        <a:lnSpc>
          <a:spcPct val="110000"/>
        </a:lnSpc>
        <a:spcBef>
          <a:spcPct val="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  <a:cs typeface="+mn-cs"/>
        </a:defRPr>
      </a:lvl3pPr>
      <a:lvl4pPr marL="355600" indent="-204788" algn="l" rtl="0" fontAlgn="base">
        <a:lnSpc>
          <a:spcPct val="110000"/>
        </a:lnSpc>
        <a:spcBef>
          <a:spcPct val="0"/>
        </a:spcBef>
        <a:spcAft>
          <a:spcPct val="0"/>
        </a:spcAft>
        <a:buChar char="–"/>
        <a:defRPr sz="1500">
          <a:solidFill>
            <a:schemeClr val="tx1"/>
          </a:solidFill>
          <a:latin typeface="+mn-lt"/>
          <a:cs typeface="+mn-cs"/>
        </a:defRPr>
      </a:lvl4pPr>
      <a:lvl5pPr marL="539750" indent="-182563" algn="l" rtl="0" fontAlgn="base">
        <a:lnSpc>
          <a:spcPct val="110000"/>
        </a:lnSpc>
        <a:spcBef>
          <a:spcPct val="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  <a:cs typeface="+mn-cs"/>
        </a:defRPr>
      </a:lvl5pPr>
      <a:lvl6pPr marL="996950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cs typeface="+mn-cs"/>
        </a:defRPr>
      </a:lvl6pPr>
      <a:lvl7pPr marL="1454150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cs typeface="+mn-cs"/>
        </a:defRPr>
      </a:lvl7pPr>
      <a:lvl8pPr marL="1911350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cs typeface="+mn-cs"/>
        </a:defRPr>
      </a:lvl8pPr>
      <a:lvl9pPr marL="2368550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tl-shop.ru/catalogs/fitosvetilniki" TargetMode="External"/><Relationship Id="rId5" Type="http://schemas.openxmlformats.org/officeDocument/2006/relationships/hyperlink" Target="https://tl-shop.ru/catalogs/fitosvetilniki/" TargetMode="External"/><Relationship Id="rId4" Type="http://schemas.openxmlformats.org/officeDocument/2006/relationships/hyperlink" Target="http://www.osram.com/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tl-shop.ru/" TargetMode="Externa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tl-shop.ru/" TargetMode="Externa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tl-shop.ru/catalogs/fitosvetilniki/" TargetMode="Externa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://upload.wikimedia.org/wikipedia/commons/b/bb/Chlorophyll_spectrum.png" TargetMode="External"/><Relationship Id="rId3" Type="http://schemas.openxmlformats.org/officeDocument/2006/relationships/tags" Target="../tags/tag3.xml"/><Relationship Id="rId7" Type="http://schemas.openxmlformats.org/officeDocument/2006/relationships/image" Target="../media/image11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5.xml"/><Relationship Id="rId11" Type="http://schemas.openxmlformats.org/officeDocument/2006/relationships/image" Target="../media/image7.png"/><Relationship Id="rId5" Type="http://schemas.openxmlformats.org/officeDocument/2006/relationships/tags" Target="../tags/tag5.xml"/><Relationship Id="rId10" Type="http://schemas.openxmlformats.org/officeDocument/2006/relationships/hyperlink" Target="https://tl-shop.ru/catalogs/fitosvetilniki/" TargetMode="External"/><Relationship Id="rId4" Type="http://schemas.openxmlformats.org/officeDocument/2006/relationships/tags" Target="../tags/tag4.xml"/><Relationship Id="rId9" Type="http://schemas.openxmlformats.org/officeDocument/2006/relationships/image" Target="../media/image1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.png"/><Relationship Id="rId4" Type="http://schemas.openxmlformats.org/officeDocument/2006/relationships/hyperlink" Target="https://tl-shop.ru/catalogs/fitosvetilniki/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tl-shop.ru/catalogs/fitosvetilniki/" TargetMode="Externa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tl-shop.ru/catalogs/fitosvetilniki/" TargetMode="Externa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tl-shop.ru/catalogs/fitosvetilniki/" TargetMode="Externa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tl-shop.ru/catalogs/fitosvetilniki/" TargetMode="Externa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tl-shop.ru/catalogs/fitosvetilniki/" TargetMode="Externa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tl-shop.ru/catalogs/fitosvetilniki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tl-shop.ru/catalogs/fitosvetilniki/" TargetMode="Externa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.png"/><Relationship Id="rId4" Type="http://schemas.openxmlformats.org/officeDocument/2006/relationships/hyperlink" Target="https://tl-shop.ru/catalogs/fitosvetilniki/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tl-shop.ru/catalogs/fitosvetilniki/" TargetMode="Externa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7.png"/><Relationship Id="rId4" Type="http://schemas.openxmlformats.org/officeDocument/2006/relationships/hyperlink" Target="https://tl-shop.ru/catalogs/fitosvetilniki/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tl-shop.ru/catalogs/fitosvetilniki/" TargetMode="External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hyperlink" Target="https://tl-shop.ru/catalogs/fitosvetilniki" TargetMode="Externa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tl-shop.ru/catalogs/fitosvetilniki/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7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tl-shop.ru/catalogs/fitosvetilniki" TargetMode="External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tl-shop.ru/catalogs/fitosvetilniki/" TargetMode="External"/><Relationship Id="rId1" Type="http://schemas.openxmlformats.org/officeDocument/2006/relationships/slideLayout" Target="../slideLayouts/slideLayout7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tl-shop.ru/catalogs/fitosvetilniki" TargetMode="Externa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tl-shop.ru/" TargetMode="Externa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tl-shop.ru/catalogs/fitosvetilniki/" TargetMode="External"/><Relationship Id="rId1" Type="http://schemas.openxmlformats.org/officeDocument/2006/relationships/slideLayout" Target="../slideLayouts/slideLayout8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hyperlink" Target="https://tl-shop.ru/catalogs/fitosvetilniki" TargetMode="Externa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tl-shop.ru/catalogs/fitosvetilniki/" TargetMode="External"/><Relationship Id="rId1" Type="http://schemas.openxmlformats.org/officeDocument/2006/relationships/slideLayout" Target="../slideLayouts/slideLayout7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hyperlink" Target="https://tl-shop.ru/catalogs/fitosvetilniki" TargetMode="External"/><Relationship Id="rId1" Type="http://schemas.openxmlformats.org/officeDocument/2006/relationships/slideLayout" Target="../slideLayouts/slideLayout2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tl-shop.ru/catalogs/fitosvetilniki/" TargetMode="External"/><Relationship Id="rId1" Type="http://schemas.openxmlformats.org/officeDocument/2006/relationships/slideLayout" Target="../slideLayouts/slideLayout4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4.xml"/><Relationship Id="rId5" Type="http://schemas.openxmlformats.org/officeDocument/2006/relationships/image" Target="../media/image7.png"/><Relationship Id="rId4" Type="http://schemas.openxmlformats.org/officeDocument/2006/relationships/hyperlink" Target="https://tl-shop.ru/catalogs/fitosvetilniki/" TargetMode="Externa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tl-shop.ru/catalogs/fitosvetilniki/" TargetMode="External"/><Relationship Id="rId1" Type="http://schemas.openxmlformats.org/officeDocument/2006/relationships/slideLayout" Target="../slideLayouts/slideLayout4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s://tl-shop.ru/catalogs/fitosvetilniki/" TargetMode="External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4.xml"/><Relationship Id="rId4" Type="http://schemas.openxmlformats.org/officeDocument/2006/relationships/image" Target="../media/image7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hyperlink" Target="https://tl-shop.ru/catalogs/fitosvetilniki" TargetMode="Externa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tl-shop.ru/catalogs/fitosvetilniki/" TargetMode="Externa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tl-shop.ru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tl-shop.ru/catalogs/fitosvetilniki/" TargetMode="External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tl-shop.ru/catalogs/fitosvetilniki/" TargetMode="External"/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hyperlink" Target="https://tl-shop.ru/catalogs/fitosvetilniki/" TargetMode="External"/><Relationship Id="rId2" Type="http://schemas.openxmlformats.org/officeDocument/2006/relationships/hyperlink" Target="http://www.ledgrowlightshq.co.uk/chlorophyll-plant-pigments/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tl-shop.ru/catalogs/fitosvetilniki/" TargetMode="External"/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tl-shop.ru/catalogs/fitosvetilniki/" TargetMode="External"/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tl-shop.ru/catalogs/fitosvetilniki/" TargetMode="External"/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tl-shop.ru/catalogs/fitosvetilniki/" TargetMode="External"/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hyperlink" Target="https://tl-shop.ru/catalogs/fitosvetilniki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png"/><Relationship Id="rId5" Type="http://schemas.openxmlformats.org/officeDocument/2006/relationships/hyperlink" Target="https://tl-shop.ru/" TargetMode="External"/><Relationship Id="rId4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tl-shop.ru/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7.png"/><Relationship Id="rId4" Type="http://schemas.openxmlformats.org/officeDocument/2006/relationships/hyperlink" Target="https://tl-shop.ru/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7.png"/><Relationship Id="rId4" Type="http://schemas.openxmlformats.org/officeDocument/2006/relationships/hyperlink" Target="https://tl-shop.ru/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.png"/><Relationship Id="rId4" Type="http://schemas.openxmlformats.org/officeDocument/2006/relationships/hyperlink" Target="https://tl-shop.ru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9329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56700" cy="687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9330" name="Titel 2"/>
          <p:cNvSpPr>
            <a:spLocks noGrp="1"/>
          </p:cNvSpPr>
          <p:nvPr>
            <p:ph type="ctrTitle"/>
          </p:nvPr>
        </p:nvSpPr>
        <p:spPr>
          <a:xfrm>
            <a:off x="539750" y="4508500"/>
            <a:ext cx="8064500" cy="996950"/>
          </a:xfrm>
        </p:spPr>
        <p:txBody>
          <a:bodyPr/>
          <a:lstStyle/>
          <a:p>
            <a:r>
              <a:rPr lang="ru-RU" dirty="0" smtClean="0"/>
              <a:t>Светодиодное растениеводческое освещение</a:t>
            </a:r>
          </a:p>
        </p:txBody>
      </p:sp>
      <p:sp>
        <p:nvSpPr>
          <p:cNvPr id="99331" name="Untertitel 3"/>
          <p:cNvSpPr>
            <a:spLocks noGrp="1"/>
          </p:cNvSpPr>
          <p:nvPr>
            <p:ph type="subTitle" idx="1"/>
          </p:nvPr>
        </p:nvSpPr>
        <p:spPr>
          <a:xfrm>
            <a:off x="539750" y="5661025"/>
            <a:ext cx="6119813" cy="698500"/>
          </a:xfrm>
        </p:spPr>
        <p:txBody>
          <a:bodyPr/>
          <a:lstStyle/>
          <a:p>
            <a:pPr marL="0" indent="0"/>
            <a:r>
              <a:rPr lang="ru-RU" dirty="0" smtClean="0"/>
              <a:t>OS SSL | 02.03.15 | </a:t>
            </a:r>
            <a:r>
              <a:rPr lang="ru-RU" dirty="0" err="1" smtClean="0"/>
              <a:t>Регенсбург</a:t>
            </a:r>
            <a:r>
              <a:rPr lang="ru-RU" dirty="0" smtClean="0"/>
              <a:t>, Германия</a:t>
            </a:r>
          </a:p>
          <a:p>
            <a:pPr marL="0" indent="0"/>
            <a:r>
              <a:rPr lang="en-US" b="1" dirty="0" err="1" smtClean="0">
                <a:solidFill>
                  <a:schemeClr val="accent1"/>
                </a:solidFill>
              </a:rPr>
              <a:t>Свет</a:t>
            </a:r>
            <a:r>
              <a:rPr lang="en-US" b="1" dirty="0" smtClean="0">
                <a:solidFill>
                  <a:schemeClr val="accent1"/>
                </a:solidFill>
              </a:rPr>
              <a:t> — </a:t>
            </a:r>
            <a:r>
              <a:rPr lang="en-US" b="1" dirty="0" err="1" smtClean="0">
                <a:solidFill>
                  <a:schemeClr val="accent1"/>
                </a:solidFill>
              </a:rPr>
              <a:t>это</a:t>
            </a:r>
            <a:r>
              <a:rPr lang="en-US" b="1" dirty="0" smtClean="0">
                <a:solidFill>
                  <a:schemeClr val="accent1"/>
                </a:solidFill>
              </a:rPr>
              <a:t> OSRAM</a:t>
            </a:r>
            <a:endParaRPr lang="ru-RU" b="1" dirty="0" smtClean="0">
              <a:solidFill>
                <a:schemeClr val="accent1"/>
              </a:solidFill>
            </a:endParaRPr>
          </a:p>
        </p:txBody>
      </p:sp>
      <p:sp>
        <p:nvSpPr>
          <p:cNvPr id="99332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0" y="404813"/>
            <a:ext cx="9144000" cy="323850"/>
          </a:xfrm>
        </p:spPr>
        <p:txBody>
          <a:bodyPr/>
          <a:lstStyle/>
          <a:p>
            <a:pPr marL="0" indent="0"/>
            <a:r>
              <a:rPr lang="ru-RU" dirty="0" smtClean="0">
                <a:hlinkClick r:id="rId4"/>
              </a:rPr>
              <a:t>www.osram.com</a:t>
            </a:r>
            <a:r>
              <a:rPr lang="ru-RU" dirty="0" smtClean="0"/>
              <a:t>					</a:t>
            </a:r>
            <a:r>
              <a:rPr lang="en-US" dirty="0"/>
              <a:t> </a:t>
            </a:r>
            <a:r>
              <a:rPr lang="en-US" dirty="0" smtClean="0"/>
              <a:t>             </a:t>
            </a:r>
            <a:r>
              <a:rPr lang="ru-RU" dirty="0" smtClean="0"/>
              <a:t>Загружено с сайта </a:t>
            </a:r>
            <a:r>
              <a:rPr lang="en-US" dirty="0" smtClean="0">
                <a:hlinkClick r:id="rId5"/>
              </a:rPr>
              <a:t>www.tl-shop.ru</a:t>
            </a:r>
            <a:endParaRPr lang="ru-RU" dirty="0" smtClean="0"/>
          </a:p>
        </p:txBody>
      </p:sp>
      <p:pic>
        <p:nvPicPr>
          <p:cNvPr id="2" name="Рисунок 1">
            <a:hlinkClick r:id="rId6"/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4445258"/>
            <a:ext cx="1080120" cy="143201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lussdiagramm: Daten 30"/>
          <p:cNvSpPr/>
          <p:nvPr/>
        </p:nvSpPr>
        <p:spPr bwMode="auto">
          <a:xfrm>
            <a:off x="3924300" y="5373688"/>
            <a:ext cx="4392613" cy="503237"/>
          </a:xfrm>
          <a:prstGeom prst="flowChartInputOutput">
            <a:avLst/>
          </a:prstGeom>
          <a:solidFill>
            <a:srgbClr val="EB8044"/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90000" tIns="46800" rIns="90000" bIns="46800" anchor="ctr"/>
          <a:lstStyle/>
          <a:p>
            <a:pPr algn="ctr">
              <a:lnSpc>
                <a:spcPct val="110000"/>
              </a:lnSpc>
              <a:defRPr/>
            </a:pPr>
            <a:endParaRPr lang="en-US" sz="1600"/>
          </a:p>
        </p:txBody>
      </p:sp>
      <p:sp>
        <p:nvSpPr>
          <p:cNvPr id="117762" name="Freihandform 11"/>
          <p:cNvSpPr>
            <a:spLocks/>
          </p:cNvSpPr>
          <p:nvPr/>
        </p:nvSpPr>
        <p:spPr bwMode="auto">
          <a:xfrm>
            <a:off x="6804025" y="3573463"/>
            <a:ext cx="512763" cy="2032000"/>
          </a:xfrm>
          <a:custGeom>
            <a:avLst/>
            <a:gdLst>
              <a:gd name="T0" fmla="*/ 486871 w 161925"/>
              <a:gd name="T1" fmla="*/ 0 h 1209675"/>
              <a:gd name="T2" fmla="*/ 5018 w 161925"/>
              <a:gd name="T3" fmla="*/ 912267 h 1209675"/>
              <a:gd name="T4" fmla="*/ 456755 w 161925"/>
              <a:gd name="T5" fmla="*/ 1440421 h 1209675"/>
              <a:gd name="T6" fmla="*/ 336292 w 161925"/>
              <a:gd name="T7" fmla="*/ 2032595 h 1209675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61925" h="1209675">
                <a:moveTo>
                  <a:pt x="153987" y="0"/>
                </a:moveTo>
                <a:cubicBezTo>
                  <a:pt x="78580" y="200025"/>
                  <a:pt x="3174" y="400050"/>
                  <a:pt x="1587" y="542925"/>
                </a:cubicBezTo>
                <a:cubicBezTo>
                  <a:pt x="0" y="685800"/>
                  <a:pt x="127000" y="746125"/>
                  <a:pt x="144462" y="857250"/>
                </a:cubicBezTo>
                <a:cubicBezTo>
                  <a:pt x="161925" y="968375"/>
                  <a:pt x="134143" y="1089025"/>
                  <a:pt x="106362" y="1209675"/>
                </a:cubicBezTo>
              </a:path>
            </a:pathLst>
          </a:custGeom>
          <a:noFill/>
          <a:ln w="76200" cap="flat" cmpd="sng" algn="ctr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ctr"/>
          <a:lstStyle/>
          <a:p>
            <a:endParaRPr lang="ru-RU"/>
          </a:p>
        </p:txBody>
      </p:sp>
      <p:sp>
        <p:nvSpPr>
          <p:cNvPr id="117763" name="Freihandform 10"/>
          <p:cNvSpPr>
            <a:spLocks/>
          </p:cNvSpPr>
          <p:nvPr/>
        </p:nvSpPr>
        <p:spPr bwMode="auto">
          <a:xfrm>
            <a:off x="6148388" y="4852988"/>
            <a:ext cx="223837" cy="736600"/>
          </a:xfrm>
          <a:custGeom>
            <a:avLst/>
            <a:gdLst>
              <a:gd name="T0" fmla="*/ 212959 w 161925"/>
              <a:gd name="T1" fmla="*/ 0 h 1209675"/>
              <a:gd name="T2" fmla="*/ 2195 w 161925"/>
              <a:gd name="T3" fmla="*/ 330533 h 1209675"/>
              <a:gd name="T4" fmla="*/ 199786 w 161925"/>
              <a:gd name="T5" fmla="*/ 521894 h 1209675"/>
              <a:gd name="T6" fmla="*/ 147095 w 161925"/>
              <a:gd name="T7" fmla="*/ 736451 h 1209675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61925" h="1209675">
                <a:moveTo>
                  <a:pt x="153987" y="0"/>
                </a:moveTo>
                <a:cubicBezTo>
                  <a:pt x="78580" y="200025"/>
                  <a:pt x="3174" y="400050"/>
                  <a:pt x="1587" y="542925"/>
                </a:cubicBezTo>
                <a:cubicBezTo>
                  <a:pt x="0" y="685800"/>
                  <a:pt x="127000" y="746125"/>
                  <a:pt x="144462" y="857250"/>
                </a:cubicBezTo>
                <a:cubicBezTo>
                  <a:pt x="161925" y="968375"/>
                  <a:pt x="134143" y="1089025"/>
                  <a:pt x="106362" y="1209675"/>
                </a:cubicBezTo>
              </a:path>
            </a:pathLst>
          </a:custGeom>
          <a:noFill/>
          <a:ln w="76200" cap="flat" cmpd="sng" algn="ctr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ctr"/>
          <a:lstStyle/>
          <a:p>
            <a:endParaRPr lang="ru-RU"/>
          </a:p>
        </p:txBody>
      </p:sp>
      <p:sp>
        <p:nvSpPr>
          <p:cNvPr id="117764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Типичный пример применения света с длиной волны 730 нм: реакция избегания тени </a:t>
            </a:r>
          </a:p>
        </p:txBody>
      </p:sp>
      <p:sp>
        <p:nvSpPr>
          <p:cNvPr id="117765" name="Inhaltsplatzhalter 2"/>
          <p:cNvSpPr>
            <a:spLocks noGrp="1"/>
          </p:cNvSpPr>
          <p:nvPr>
            <p:ph idx="1"/>
          </p:nvPr>
        </p:nvSpPr>
        <p:spPr>
          <a:xfrm>
            <a:off x="539750" y="1268413"/>
            <a:ext cx="8064500" cy="847725"/>
          </a:xfrm>
        </p:spPr>
        <p:txBody>
          <a:bodyPr/>
          <a:lstStyle/>
          <a:p>
            <a:pPr marL="0" indent="0"/>
            <a:r>
              <a:rPr lang="ru-RU" smtClean="0"/>
              <a:t>Один из наиболее явных эффектов дальнего красного света — реакция избегания тени растением.</a:t>
            </a:r>
          </a:p>
          <a:p>
            <a:pPr marL="0" indent="0"/>
            <a:endParaRPr lang="ru-RU" smtClean="0"/>
          </a:p>
          <a:p>
            <a:pPr marL="0" indent="0"/>
            <a:endParaRPr lang="ru-RU" smtClean="0"/>
          </a:p>
        </p:txBody>
      </p:sp>
      <p:sp>
        <p:nvSpPr>
          <p:cNvPr id="6" name="plant"/>
          <p:cNvSpPr>
            <a:spLocks noEditPoints="1" noChangeArrowheads="1"/>
          </p:cNvSpPr>
          <p:nvPr/>
        </p:nvSpPr>
        <p:spPr bwMode="auto">
          <a:xfrm>
            <a:off x="5913438" y="4221163"/>
            <a:ext cx="603250" cy="890587"/>
          </a:xfrm>
          <a:custGeom>
            <a:avLst/>
            <a:gdLst>
              <a:gd name="T0" fmla="*/ 0 w 21600"/>
              <a:gd name="T1" fmla="*/ 0 h 21600"/>
              <a:gd name="T2" fmla="*/ 10800 w 21600"/>
              <a:gd name="T3" fmla="*/ 0 h 21600"/>
              <a:gd name="T4" fmla="*/ 21600 w 21600"/>
              <a:gd name="T5" fmla="*/ 0 h 21600"/>
              <a:gd name="T6" fmla="*/ 21600 w 21600"/>
              <a:gd name="T7" fmla="*/ 10800 h 21600"/>
              <a:gd name="T8" fmla="*/ 21600 w 21600"/>
              <a:gd name="T9" fmla="*/ 21600 h 21600"/>
              <a:gd name="T10" fmla="*/ 10800 w 21600"/>
              <a:gd name="T11" fmla="*/ 21600 h 21600"/>
              <a:gd name="T12" fmla="*/ 0 w 21600"/>
              <a:gd name="T13" fmla="*/ 21600 h 21600"/>
              <a:gd name="T14" fmla="*/ 0 w 21600"/>
              <a:gd name="T15" fmla="*/ 10800 h 21600"/>
              <a:gd name="T16" fmla="*/ 7100 w 21600"/>
              <a:gd name="T17" fmla="*/ 10092 h 21600"/>
              <a:gd name="T18" fmla="*/ 14545 w 21600"/>
              <a:gd name="T19" fmla="*/ 13573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9368" y="9002"/>
                </a:moveTo>
                <a:lnTo>
                  <a:pt x="9254" y="8422"/>
                </a:lnTo>
                <a:lnTo>
                  <a:pt x="9139" y="7935"/>
                </a:lnTo>
                <a:lnTo>
                  <a:pt x="8819" y="7355"/>
                </a:lnTo>
                <a:lnTo>
                  <a:pt x="8475" y="6728"/>
                </a:lnTo>
                <a:lnTo>
                  <a:pt x="8040" y="6287"/>
                </a:lnTo>
                <a:lnTo>
                  <a:pt x="7421" y="5707"/>
                </a:lnTo>
                <a:lnTo>
                  <a:pt x="6574" y="5429"/>
                </a:lnTo>
                <a:lnTo>
                  <a:pt x="5452" y="5313"/>
                </a:lnTo>
                <a:lnTo>
                  <a:pt x="4856" y="5220"/>
                </a:lnTo>
                <a:lnTo>
                  <a:pt x="4169" y="5220"/>
                </a:lnTo>
                <a:lnTo>
                  <a:pt x="3665" y="5104"/>
                </a:lnTo>
                <a:lnTo>
                  <a:pt x="3001" y="4872"/>
                </a:lnTo>
                <a:lnTo>
                  <a:pt x="2497" y="4756"/>
                </a:lnTo>
                <a:lnTo>
                  <a:pt x="2062" y="4408"/>
                </a:lnTo>
                <a:lnTo>
                  <a:pt x="1603" y="4083"/>
                </a:lnTo>
                <a:lnTo>
                  <a:pt x="1283" y="3689"/>
                </a:lnTo>
                <a:lnTo>
                  <a:pt x="1283" y="4315"/>
                </a:lnTo>
                <a:lnTo>
                  <a:pt x="1489" y="5104"/>
                </a:lnTo>
                <a:lnTo>
                  <a:pt x="1832" y="6055"/>
                </a:lnTo>
                <a:lnTo>
                  <a:pt x="2382" y="6914"/>
                </a:lnTo>
                <a:lnTo>
                  <a:pt x="2680" y="7471"/>
                </a:lnTo>
                <a:lnTo>
                  <a:pt x="3115" y="7935"/>
                </a:lnTo>
                <a:lnTo>
                  <a:pt x="3573" y="8213"/>
                </a:lnTo>
                <a:lnTo>
                  <a:pt x="4077" y="8654"/>
                </a:lnTo>
                <a:lnTo>
                  <a:pt x="4627" y="9002"/>
                </a:lnTo>
                <a:lnTo>
                  <a:pt x="5245" y="9234"/>
                </a:lnTo>
                <a:lnTo>
                  <a:pt x="6024" y="9443"/>
                </a:lnTo>
                <a:lnTo>
                  <a:pt x="6757" y="9628"/>
                </a:lnTo>
                <a:lnTo>
                  <a:pt x="5177" y="10069"/>
                </a:lnTo>
                <a:lnTo>
                  <a:pt x="3963" y="10649"/>
                </a:lnTo>
                <a:lnTo>
                  <a:pt x="3344" y="11044"/>
                </a:lnTo>
                <a:lnTo>
                  <a:pt x="2886" y="11600"/>
                </a:lnTo>
                <a:lnTo>
                  <a:pt x="2497" y="12041"/>
                </a:lnTo>
                <a:lnTo>
                  <a:pt x="1947" y="12343"/>
                </a:lnTo>
                <a:lnTo>
                  <a:pt x="1168" y="12668"/>
                </a:lnTo>
                <a:lnTo>
                  <a:pt x="0" y="12900"/>
                </a:lnTo>
                <a:lnTo>
                  <a:pt x="435" y="13248"/>
                </a:lnTo>
                <a:lnTo>
                  <a:pt x="779" y="13456"/>
                </a:lnTo>
                <a:lnTo>
                  <a:pt x="1283" y="13642"/>
                </a:lnTo>
                <a:lnTo>
                  <a:pt x="1718" y="13758"/>
                </a:lnTo>
                <a:lnTo>
                  <a:pt x="2680" y="13851"/>
                </a:lnTo>
                <a:lnTo>
                  <a:pt x="3573" y="13758"/>
                </a:lnTo>
                <a:lnTo>
                  <a:pt x="4512" y="13526"/>
                </a:lnTo>
                <a:lnTo>
                  <a:pt x="5360" y="13248"/>
                </a:lnTo>
                <a:lnTo>
                  <a:pt x="6139" y="12900"/>
                </a:lnTo>
                <a:lnTo>
                  <a:pt x="6757" y="12552"/>
                </a:lnTo>
                <a:lnTo>
                  <a:pt x="6459" y="13132"/>
                </a:lnTo>
                <a:lnTo>
                  <a:pt x="6139" y="13642"/>
                </a:lnTo>
                <a:lnTo>
                  <a:pt x="5910" y="14199"/>
                </a:lnTo>
                <a:lnTo>
                  <a:pt x="5681" y="14663"/>
                </a:lnTo>
                <a:lnTo>
                  <a:pt x="5681" y="15150"/>
                </a:lnTo>
                <a:lnTo>
                  <a:pt x="5681" y="15730"/>
                </a:lnTo>
                <a:lnTo>
                  <a:pt x="5681" y="16241"/>
                </a:lnTo>
                <a:lnTo>
                  <a:pt x="5795" y="16913"/>
                </a:lnTo>
                <a:lnTo>
                  <a:pt x="5910" y="17586"/>
                </a:lnTo>
                <a:lnTo>
                  <a:pt x="5910" y="18213"/>
                </a:lnTo>
                <a:lnTo>
                  <a:pt x="5795" y="18885"/>
                </a:lnTo>
                <a:lnTo>
                  <a:pt x="5566" y="19396"/>
                </a:lnTo>
                <a:lnTo>
                  <a:pt x="5245" y="19976"/>
                </a:lnTo>
                <a:lnTo>
                  <a:pt x="4971" y="20370"/>
                </a:lnTo>
                <a:lnTo>
                  <a:pt x="4512" y="20811"/>
                </a:lnTo>
                <a:lnTo>
                  <a:pt x="4077" y="21043"/>
                </a:lnTo>
                <a:lnTo>
                  <a:pt x="5177" y="20927"/>
                </a:lnTo>
                <a:lnTo>
                  <a:pt x="6253" y="20486"/>
                </a:lnTo>
                <a:lnTo>
                  <a:pt x="7421" y="19976"/>
                </a:lnTo>
                <a:lnTo>
                  <a:pt x="8361" y="19187"/>
                </a:lnTo>
                <a:lnTo>
                  <a:pt x="8819" y="18769"/>
                </a:lnTo>
                <a:lnTo>
                  <a:pt x="9139" y="18213"/>
                </a:lnTo>
                <a:lnTo>
                  <a:pt x="9437" y="17772"/>
                </a:lnTo>
                <a:lnTo>
                  <a:pt x="9643" y="17261"/>
                </a:lnTo>
                <a:lnTo>
                  <a:pt x="9872" y="16681"/>
                </a:lnTo>
                <a:lnTo>
                  <a:pt x="9872" y="16171"/>
                </a:lnTo>
                <a:lnTo>
                  <a:pt x="9872" y="15614"/>
                </a:lnTo>
                <a:lnTo>
                  <a:pt x="9758" y="15057"/>
                </a:lnTo>
                <a:lnTo>
                  <a:pt x="10216" y="15498"/>
                </a:lnTo>
                <a:lnTo>
                  <a:pt x="10537" y="16241"/>
                </a:lnTo>
                <a:lnTo>
                  <a:pt x="10834" y="17145"/>
                </a:lnTo>
                <a:lnTo>
                  <a:pt x="11041" y="18213"/>
                </a:lnTo>
                <a:lnTo>
                  <a:pt x="11155" y="19187"/>
                </a:lnTo>
                <a:lnTo>
                  <a:pt x="11155" y="20185"/>
                </a:lnTo>
                <a:lnTo>
                  <a:pt x="11155" y="20579"/>
                </a:lnTo>
                <a:lnTo>
                  <a:pt x="11041" y="21043"/>
                </a:lnTo>
                <a:lnTo>
                  <a:pt x="10926" y="21391"/>
                </a:lnTo>
                <a:lnTo>
                  <a:pt x="10766" y="21600"/>
                </a:lnTo>
                <a:lnTo>
                  <a:pt x="11499" y="21484"/>
                </a:lnTo>
                <a:lnTo>
                  <a:pt x="12323" y="21043"/>
                </a:lnTo>
                <a:lnTo>
                  <a:pt x="13102" y="20370"/>
                </a:lnTo>
                <a:lnTo>
                  <a:pt x="13606" y="19628"/>
                </a:lnTo>
                <a:lnTo>
                  <a:pt x="13950" y="19071"/>
                </a:lnTo>
                <a:lnTo>
                  <a:pt x="14064" y="18677"/>
                </a:lnTo>
                <a:lnTo>
                  <a:pt x="14179" y="18097"/>
                </a:lnTo>
                <a:lnTo>
                  <a:pt x="14293" y="17586"/>
                </a:lnTo>
                <a:lnTo>
                  <a:pt x="14179" y="16913"/>
                </a:lnTo>
                <a:lnTo>
                  <a:pt x="14064" y="16241"/>
                </a:lnTo>
                <a:lnTo>
                  <a:pt x="13835" y="15614"/>
                </a:lnTo>
                <a:lnTo>
                  <a:pt x="13560" y="14872"/>
                </a:lnTo>
                <a:lnTo>
                  <a:pt x="13950" y="14941"/>
                </a:lnTo>
                <a:lnTo>
                  <a:pt x="14408" y="15150"/>
                </a:lnTo>
                <a:lnTo>
                  <a:pt x="14843" y="15266"/>
                </a:lnTo>
                <a:lnTo>
                  <a:pt x="15232" y="15614"/>
                </a:lnTo>
                <a:lnTo>
                  <a:pt x="15576" y="15846"/>
                </a:lnTo>
                <a:lnTo>
                  <a:pt x="15897" y="16171"/>
                </a:lnTo>
                <a:lnTo>
                  <a:pt x="16126" y="16473"/>
                </a:lnTo>
                <a:lnTo>
                  <a:pt x="16240" y="16913"/>
                </a:lnTo>
                <a:lnTo>
                  <a:pt x="16515" y="17261"/>
                </a:lnTo>
                <a:lnTo>
                  <a:pt x="17088" y="17586"/>
                </a:lnTo>
                <a:lnTo>
                  <a:pt x="17798" y="17865"/>
                </a:lnTo>
                <a:lnTo>
                  <a:pt x="18576" y="18097"/>
                </a:lnTo>
                <a:lnTo>
                  <a:pt x="19424" y="18213"/>
                </a:lnTo>
                <a:lnTo>
                  <a:pt x="20317" y="18213"/>
                </a:lnTo>
                <a:lnTo>
                  <a:pt x="21050" y="18213"/>
                </a:lnTo>
                <a:lnTo>
                  <a:pt x="21600" y="17865"/>
                </a:lnTo>
                <a:lnTo>
                  <a:pt x="21165" y="17656"/>
                </a:lnTo>
                <a:lnTo>
                  <a:pt x="20592" y="17470"/>
                </a:lnTo>
                <a:lnTo>
                  <a:pt x="20088" y="17029"/>
                </a:lnTo>
                <a:lnTo>
                  <a:pt x="19653" y="16681"/>
                </a:lnTo>
                <a:lnTo>
                  <a:pt x="19195" y="16241"/>
                </a:lnTo>
                <a:lnTo>
                  <a:pt x="18920" y="15962"/>
                </a:lnTo>
                <a:lnTo>
                  <a:pt x="18576" y="15498"/>
                </a:lnTo>
                <a:lnTo>
                  <a:pt x="18576" y="15057"/>
                </a:lnTo>
                <a:lnTo>
                  <a:pt x="18485" y="14756"/>
                </a:lnTo>
                <a:lnTo>
                  <a:pt x="18256" y="14199"/>
                </a:lnTo>
                <a:lnTo>
                  <a:pt x="17912" y="13526"/>
                </a:lnTo>
                <a:lnTo>
                  <a:pt x="17523" y="13016"/>
                </a:lnTo>
                <a:lnTo>
                  <a:pt x="16973" y="12436"/>
                </a:lnTo>
                <a:lnTo>
                  <a:pt x="16355" y="12041"/>
                </a:lnTo>
                <a:lnTo>
                  <a:pt x="16011" y="11832"/>
                </a:lnTo>
                <a:lnTo>
                  <a:pt x="15690" y="11716"/>
                </a:lnTo>
                <a:lnTo>
                  <a:pt x="15232" y="11716"/>
                </a:lnTo>
                <a:lnTo>
                  <a:pt x="14843" y="11716"/>
                </a:lnTo>
                <a:lnTo>
                  <a:pt x="15461" y="11252"/>
                </a:lnTo>
                <a:lnTo>
                  <a:pt x="16126" y="10858"/>
                </a:lnTo>
                <a:lnTo>
                  <a:pt x="16973" y="10649"/>
                </a:lnTo>
                <a:lnTo>
                  <a:pt x="17798" y="10417"/>
                </a:lnTo>
                <a:lnTo>
                  <a:pt x="18806" y="10301"/>
                </a:lnTo>
                <a:lnTo>
                  <a:pt x="19653" y="10301"/>
                </a:lnTo>
                <a:lnTo>
                  <a:pt x="20478" y="10417"/>
                </a:lnTo>
                <a:lnTo>
                  <a:pt x="21256" y="10533"/>
                </a:lnTo>
                <a:lnTo>
                  <a:pt x="20707" y="9837"/>
                </a:lnTo>
                <a:lnTo>
                  <a:pt x="19859" y="9234"/>
                </a:lnTo>
                <a:lnTo>
                  <a:pt x="18806" y="8538"/>
                </a:lnTo>
                <a:lnTo>
                  <a:pt x="17637" y="8144"/>
                </a:lnTo>
                <a:lnTo>
                  <a:pt x="16973" y="8027"/>
                </a:lnTo>
                <a:lnTo>
                  <a:pt x="16355" y="7935"/>
                </a:lnTo>
                <a:lnTo>
                  <a:pt x="15805" y="7935"/>
                </a:lnTo>
                <a:lnTo>
                  <a:pt x="15118" y="8027"/>
                </a:lnTo>
                <a:lnTo>
                  <a:pt x="14614" y="8144"/>
                </a:lnTo>
                <a:lnTo>
                  <a:pt x="14064" y="8422"/>
                </a:lnTo>
                <a:lnTo>
                  <a:pt x="13606" y="8886"/>
                </a:lnTo>
                <a:lnTo>
                  <a:pt x="13217" y="9327"/>
                </a:lnTo>
                <a:lnTo>
                  <a:pt x="13606" y="8538"/>
                </a:lnTo>
                <a:lnTo>
                  <a:pt x="13950" y="7935"/>
                </a:lnTo>
                <a:lnTo>
                  <a:pt x="14293" y="7123"/>
                </a:lnTo>
                <a:lnTo>
                  <a:pt x="14499" y="6519"/>
                </a:lnTo>
                <a:lnTo>
                  <a:pt x="14614" y="5823"/>
                </a:lnTo>
                <a:lnTo>
                  <a:pt x="14614" y="5220"/>
                </a:lnTo>
                <a:lnTo>
                  <a:pt x="14408" y="4524"/>
                </a:lnTo>
                <a:lnTo>
                  <a:pt x="14064" y="3898"/>
                </a:lnTo>
                <a:lnTo>
                  <a:pt x="13606" y="3225"/>
                </a:lnTo>
                <a:lnTo>
                  <a:pt x="13331" y="2598"/>
                </a:lnTo>
                <a:lnTo>
                  <a:pt x="13102" y="2042"/>
                </a:lnTo>
                <a:lnTo>
                  <a:pt x="12896" y="1485"/>
                </a:lnTo>
                <a:lnTo>
                  <a:pt x="12781" y="1090"/>
                </a:lnTo>
                <a:lnTo>
                  <a:pt x="12667" y="626"/>
                </a:lnTo>
                <a:lnTo>
                  <a:pt x="12667" y="278"/>
                </a:lnTo>
                <a:lnTo>
                  <a:pt x="12667" y="0"/>
                </a:lnTo>
                <a:lnTo>
                  <a:pt x="12163" y="394"/>
                </a:lnTo>
                <a:lnTo>
                  <a:pt x="11728" y="974"/>
                </a:lnTo>
                <a:lnTo>
                  <a:pt x="11155" y="1601"/>
                </a:lnTo>
                <a:lnTo>
                  <a:pt x="10766" y="2390"/>
                </a:lnTo>
                <a:lnTo>
                  <a:pt x="10330" y="3109"/>
                </a:lnTo>
                <a:lnTo>
                  <a:pt x="10101" y="3898"/>
                </a:lnTo>
                <a:lnTo>
                  <a:pt x="9987" y="4524"/>
                </a:lnTo>
                <a:lnTo>
                  <a:pt x="10101" y="5220"/>
                </a:lnTo>
                <a:lnTo>
                  <a:pt x="10216" y="5823"/>
                </a:lnTo>
                <a:lnTo>
                  <a:pt x="10330" y="6403"/>
                </a:lnTo>
                <a:lnTo>
                  <a:pt x="10330" y="6914"/>
                </a:lnTo>
                <a:lnTo>
                  <a:pt x="10216" y="7471"/>
                </a:lnTo>
                <a:lnTo>
                  <a:pt x="10101" y="7935"/>
                </a:lnTo>
                <a:lnTo>
                  <a:pt x="9872" y="8329"/>
                </a:lnTo>
                <a:lnTo>
                  <a:pt x="9643" y="8654"/>
                </a:lnTo>
                <a:lnTo>
                  <a:pt x="9368" y="9002"/>
                </a:lnTo>
                <a:close/>
              </a:path>
            </a:pathLst>
          </a:custGeom>
          <a:solidFill>
            <a:srgbClr val="008000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/>
          <a:p>
            <a:pPr algn="ctr">
              <a:defRPr/>
            </a:pPr>
            <a:endParaRPr lang="en-US"/>
          </a:p>
        </p:txBody>
      </p:sp>
      <p:sp>
        <p:nvSpPr>
          <p:cNvPr id="117767" name="Freihandform 8"/>
          <p:cNvSpPr>
            <a:spLocks/>
          </p:cNvSpPr>
          <p:nvPr/>
        </p:nvSpPr>
        <p:spPr bwMode="auto">
          <a:xfrm>
            <a:off x="4708525" y="4852988"/>
            <a:ext cx="223838" cy="736600"/>
          </a:xfrm>
          <a:custGeom>
            <a:avLst/>
            <a:gdLst>
              <a:gd name="T0" fmla="*/ 212959 w 161925"/>
              <a:gd name="T1" fmla="*/ 0 h 1209675"/>
              <a:gd name="T2" fmla="*/ 2195 w 161925"/>
              <a:gd name="T3" fmla="*/ 330533 h 1209675"/>
              <a:gd name="T4" fmla="*/ 199786 w 161925"/>
              <a:gd name="T5" fmla="*/ 521894 h 1209675"/>
              <a:gd name="T6" fmla="*/ 147095 w 161925"/>
              <a:gd name="T7" fmla="*/ 736451 h 1209675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61925" h="1209675">
                <a:moveTo>
                  <a:pt x="153987" y="0"/>
                </a:moveTo>
                <a:cubicBezTo>
                  <a:pt x="78580" y="200025"/>
                  <a:pt x="3174" y="400050"/>
                  <a:pt x="1587" y="542925"/>
                </a:cubicBezTo>
                <a:cubicBezTo>
                  <a:pt x="0" y="685800"/>
                  <a:pt x="127000" y="746125"/>
                  <a:pt x="144462" y="857250"/>
                </a:cubicBezTo>
                <a:cubicBezTo>
                  <a:pt x="161925" y="968375"/>
                  <a:pt x="134143" y="1089025"/>
                  <a:pt x="106362" y="1209675"/>
                </a:cubicBezTo>
              </a:path>
            </a:pathLst>
          </a:custGeom>
          <a:noFill/>
          <a:ln w="76200" cap="flat" cmpd="sng" algn="ctr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anchor="ctr"/>
          <a:lstStyle/>
          <a:p>
            <a:endParaRPr lang="ru-RU"/>
          </a:p>
        </p:txBody>
      </p:sp>
      <p:sp>
        <p:nvSpPr>
          <p:cNvPr id="1026" name="plant"/>
          <p:cNvSpPr>
            <a:spLocks noEditPoints="1" noChangeArrowheads="1"/>
          </p:cNvSpPr>
          <p:nvPr/>
        </p:nvSpPr>
        <p:spPr bwMode="auto">
          <a:xfrm>
            <a:off x="4500563" y="4497388"/>
            <a:ext cx="601662" cy="603250"/>
          </a:xfrm>
          <a:custGeom>
            <a:avLst/>
            <a:gdLst>
              <a:gd name="T0" fmla="*/ 0 w 21600"/>
              <a:gd name="T1" fmla="*/ 0 h 21600"/>
              <a:gd name="T2" fmla="*/ 10800 w 21600"/>
              <a:gd name="T3" fmla="*/ 0 h 21600"/>
              <a:gd name="T4" fmla="*/ 21600 w 21600"/>
              <a:gd name="T5" fmla="*/ 0 h 21600"/>
              <a:gd name="T6" fmla="*/ 21600 w 21600"/>
              <a:gd name="T7" fmla="*/ 10800 h 21600"/>
              <a:gd name="T8" fmla="*/ 21600 w 21600"/>
              <a:gd name="T9" fmla="*/ 21600 h 21600"/>
              <a:gd name="T10" fmla="*/ 10800 w 21600"/>
              <a:gd name="T11" fmla="*/ 21600 h 21600"/>
              <a:gd name="T12" fmla="*/ 0 w 21600"/>
              <a:gd name="T13" fmla="*/ 21600 h 21600"/>
              <a:gd name="T14" fmla="*/ 0 w 21600"/>
              <a:gd name="T15" fmla="*/ 10800 h 21600"/>
              <a:gd name="T16" fmla="*/ 7100 w 21600"/>
              <a:gd name="T17" fmla="*/ 10092 h 21600"/>
              <a:gd name="T18" fmla="*/ 14545 w 21600"/>
              <a:gd name="T19" fmla="*/ 13573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9368" y="9002"/>
                </a:moveTo>
                <a:lnTo>
                  <a:pt x="9254" y="8422"/>
                </a:lnTo>
                <a:lnTo>
                  <a:pt x="9139" y="7935"/>
                </a:lnTo>
                <a:lnTo>
                  <a:pt x="8819" y="7355"/>
                </a:lnTo>
                <a:lnTo>
                  <a:pt x="8475" y="6728"/>
                </a:lnTo>
                <a:lnTo>
                  <a:pt x="8040" y="6287"/>
                </a:lnTo>
                <a:lnTo>
                  <a:pt x="7421" y="5707"/>
                </a:lnTo>
                <a:lnTo>
                  <a:pt x="6574" y="5429"/>
                </a:lnTo>
                <a:lnTo>
                  <a:pt x="5452" y="5313"/>
                </a:lnTo>
                <a:lnTo>
                  <a:pt x="4856" y="5220"/>
                </a:lnTo>
                <a:lnTo>
                  <a:pt x="4169" y="5220"/>
                </a:lnTo>
                <a:lnTo>
                  <a:pt x="3665" y="5104"/>
                </a:lnTo>
                <a:lnTo>
                  <a:pt x="3001" y="4872"/>
                </a:lnTo>
                <a:lnTo>
                  <a:pt x="2497" y="4756"/>
                </a:lnTo>
                <a:lnTo>
                  <a:pt x="2062" y="4408"/>
                </a:lnTo>
                <a:lnTo>
                  <a:pt x="1603" y="4083"/>
                </a:lnTo>
                <a:lnTo>
                  <a:pt x="1283" y="3689"/>
                </a:lnTo>
                <a:lnTo>
                  <a:pt x="1283" y="4315"/>
                </a:lnTo>
                <a:lnTo>
                  <a:pt x="1489" y="5104"/>
                </a:lnTo>
                <a:lnTo>
                  <a:pt x="1832" y="6055"/>
                </a:lnTo>
                <a:lnTo>
                  <a:pt x="2382" y="6914"/>
                </a:lnTo>
                <a:lnTo>
                  <a:pt x="2680" y="7471"/>
                </a:lnTo>
                <a:lnTo>
                  <a:pt x="3115" y="7935"/>
                </a:lnTo>
                <a:lnTo>
                  <a:pt x="3573" y="8213"/>
                </a:lnTo>
                <a:lnTo>
                  <a:pt x="4077" y="8654"/>
                </a:lnTo>
                <a:lnTo>
                  <a:pt x="4627" y="9002"/>
                </a:lnTo>
                <a:lnTo>
                  <a:pt x="5245" y="9234"/>
                </a:lnTo>
                <a:lnTo>
                  <a:pt x="6024" y="9443"/>
                </a:lnTo>
                <a:lnTo>
                  <a:pt x="6757" y="9628"/>
                </a:lnTo>
                <a:lnTo>
                  <a:pt x="5177" y="10069"/>
                </a:lnTo>
                <a:lnTo>
                  <a:pt x="3963" y="10649"/>
                </a:lnTo>
                <a:lnTo>
                  <a:pt x="3344" y="11044"/>
                </a:lnTo>
                <a:lnTo>
                  <a:pt x="2886" y="11600"/>
                </a:lnTo>
                <a:lnTo>
                  <a:pt x="2497" y="12041"/>
                </a:lnTo>
                <a:lnTo>
                  <a:pt x="1947" y="12343"/>
                </a:lnTo>
                <a:lnTo>
                  <a:pt x="1168" y="12668"/>
                </a:lnTo>
                <a:lnTo>
                  <a:pt x="0" y="12900"/>
                </a:lnTo>
                <a:lnTo>
                  <a:pt x="435" y="13248"/>
                </a:lnTo>
                <a:lnTo>
                  <a:pt x="779" y="13456"/>
                </a:lnTo>
                <a:lnTo>
                  <a:pt x="1283" y="13642"/>
                </a:lnTo>
                <a:lnTo>
                  <a:pt x="1718" y="13758"/>
                </a:lnTo>
                <a:lnTo>
                  <a:pt x="2680" y="13851"/>
                </a:lnTo>
                <a:lnTo>
                  <a:pt x="3573" y="13758"/>
                </a:lnTo>
                <a:lnTo>
                  <a:pt x="4512" y="13526"/>
                </a:lnTo>
                <a:lnTo>
                  <a:pt x="5360" y="13248"/>
                </a:lnTo>
                <a:lnTo>
                  <a:pt x="6139" y="12900"/>
                </a:lnTo>
                <a:lnTo>
                  <a:pt x="6757" y="12552"/>
                </a:lnTo>
                <a:lnTo>
                  <a:pt x="6459" y="13132"/>
                </a:lnTo>
                <a:lnTo>
                  <a:pt x="6139" y="13642"/>
                </a:lnTo>
                <a:lnTo>
                  <a:pt x="5910" y="14199"/>
                </a:lnTo>
                <a:lnTo>
                  <a:pt x="5681" y="14663"/>
                </a:lnTo>
                <a:lnTo>
                  <a:pt x="5681" y="15150"/>
                </a:lnTo>
                <a:lnTo>
                  <a:pt x="5681" y="15730"/>
                </a:lnTo>
                <a:lnTo>
                  <a:pt x="5681" y="16241"/>
                </a:lnTo>
                <a:lnTo>
                  <a:pt x="5795" y="16913"/>
                </a:lnTo>
                <a:lnTo>
                  <a:pt x="5910" y="17586"/>
                </a:lnTo>
                <a:lnTo>
                  <a:pt x="5910" y="18213"/>
                </a:lnTo>
                <a:lnTo>
                  <a:pt x="5795" y="18885"/>
                </a:lnTo>
                <a:lnTo>
                  <a:pt x="5566" y="19396"/>
                </a:lnTo>
                <a:lnTo>
                  <a:pt x="5245" y="19976"/>
                </a:lnTo>
                <a:lnTo>
                  <a:pt x="4971" y="20370"/>
                </a:lnTo>
                <a:lnTo>
                  <a:pt x="4512" y="20811"/>
                </a:lnTo>
                <a:lnTo>
                  <a:pt x="4077" y="21043"/>
                </a:lnTo>
                <a:lnTo>
                  <a:pt x="5177" y="20927"/>
                </a:lnTo>
                <a:lnTo>
                  <a:pt x="6253" y="20486"/>
                </a:lnTo>
                <a:lnTo>
                  <a:pt x="7421" y="19976"/>
                </a:lnTo>
                <a:lnTo>
                  <a:pt x="8361" y="19187"/>
                </a:lnTo>
                <a:lnTo>
                  <a:pt x="8819" y="18769"/>
                </a:lnTo>
                <a:lnTo>
                  <a:pt x="9139" y="18213"/>
                </a:lnTo>
                <a:lnTo>
                  <a:pt x="9437" y="17772"/>
                </a:lnTo>
                <a:lnTo>
                  <a:pt x="9643" y="17261"/>
                </a:lnTo>
                <a:lnTo>
                  <a:pt x="9872" y="16681"/>
                </a:lnTo>
                <a:lnTo>
                  <a:pt x="9872" y="16171"/>
                </a:lnTo>
                <a:lnTo>
                  <a:pt x="9872" y="15614"/>
                </a:lnTo>
                <a:lnTo>
                  <a:pt x="9758" y="15057"/>
                </a:lnTo>
                <a:lnTo>
                  <a:pt x="10216" y="15498"/>
                </a:lnTo>
                <a:lnTo>
                  <a:pt x="10537" y="16241"/>
                </a:lnTo>
                <a:lnTo>
                  <a:pt x="10834" y="17145"/>
                </a:lnTo>
                <a:lnTo>
                  <a:pt x="11041" y="18213"/>
                </a:lnTo>
                <a:lnTo>
                  <a:pt x="11155" y="19187"/>
                </a:lnTo>
                <a:lnTo>
                  <a:pt x="11155" y="20185"/>
                </a:lnTo>
                <a:lnTo>
                  <a:pt x="11155" y="20579"/>
                </a:lnTo>
                <a:lnTo>
                  <a:pt x="11041" y="21043"/>
                </a:lnTo>
                <a:lnTo>
                  <a:pt x="10926" y="21391"/>
                </a:lnTo>
                <a:lnTo>
                  <a:pt x="10766" y="21600"/>
                </a:lnTo>
                <a:lnTo>
                  <a:pt x="11499" y="21484"/>
                </a:lnTo>
                <a:lnTo>
                  <a:pt x="12323" y="21043"/>
                </a:lnTo>
                <a:lnTo>
                  <a:pt x="13102" y="20370"/>
                </a:lnTo>
                <a:lnTo>
                  <a:pt x="13606" y="19628"/>
                </a:lnTo>
                <a:lnTo>
                  <a:pt x="13950" y="19071"/>
                </a:lnTo>
                <a:lnTo>
                  <a:pt x="14064" y="18677"/>
                </a:lnTo>
                <a:lnTo>
                  <a:pt x="14179" y="18097"/>
                </a:lnTo>
                <a:lnTo>
                  <a:pt x="14293" y="17586"/>
                </a:lnTo>
                <a:lnTo>
                  <a:pt x="14179" y="16913"/>
                </a:lnTo>
                <a:lnTo>
                  <a:pt x="14064" y="16241"/>
                </a:lnTo>
                <a:lnTo>
                  <a:pt x="13835" y="15614"/>
                </a:lnTo>
                <a:lnTo>
                  <a:pt x="13560" y="14872"/>
                </a:lnTo>
                <a:lnTo>
                  <a:pt x="13950" y="14941"/>
                </a:lnTo>
                <a:lnTo>
                  <a:pt x="14408" y="15150"/>
                </a:lnTo>
                <a:lnTo>
                  <a:pt x="14843" y="15266"/>
                </a:lnTo>
                <a:lnTo>
                  <a:pt x="15232" y="15614"/>
                </a:lnTo>
                <a:lnTo>
                  <a:pt x="15576" y="15846"/>
                </a:lnTo>
                <a:lnTo>
                  <a:pt x="15897" y="16171"/>
                </a:lnTo>
                <a:lnTo>
                  <a:pt x="16126" y="16473"/>
                </a:lnTo>
                <a:lnTo>
                  <a:pt x="16240" y="16913"/>
                </a:lnTo>
                <a:lnTo>
                  <a:pt x="16515" y="17261"/>
                </a:lnTo>
                <a:lnTo>
                  <a:pt x="17088" y="17586"/>
                </a:lnTo>
                <a:lnTo>
                  <a:pt x="17798" y="17865"/>
                </a:lnTo>
                <a:lnTo>
                  <a:pt x="18576" y="18097"/>
                </a:lnTo>
                <a:lnTo>
                  <a:pt x="19424" y="18213"/>
                </a:lnTo>
                <a:lnTo>
                  <a:pt x="20317" y="18213"/>
                </a:lnTo>
                <a:lnTo>
                  <a:pt x="21050" y="18213"/>
                </a:lnTo>
                <a:lnTo>
                  <a:pt x="21600" y="17865"/>
                </a:lnTo>
                <a:lnTo>
                  <a:pt x="21165" y="17656"/>
                </a:lnTo>
                <a:lnTo>
                  <a:pt x="20592" y="17470"/>
                </a:lnTo>
                <a:lnTo>
                  <a:pt x="20088" y="17029"/>
                </a:lnTo>
                <a:lnTo>
                  <a:pt x="19653" y="16681"/>
                </a:lnTo>
                <a:lnTo>
                  <a:pt x="19195" y="16241"/>
                </a:lnTo>
                <a:lnTo>
                  <a:pt x="18920" y="15962"/>
                </a:lnTo>
                <a:lnTo>
                  <a:pt x="18576" y="15498"/>
                </a:lnTo>
                <a:lnTo>
                  <a:pt x="18576" y="15057"/>
                </a:lnTo>
                <a:lnTo>
                  <a:pt x="18485" y="14756"/>
                </a:lnTo>
                <a:lnTo>
                  <a:pt x="18256" y="14199"/>
                </a:lnTo>
                <a:lnTo>
                  <a:pt x="17912" y="13526"/>
                </a:lnTo>
                <a:lnTo>
                  <a:pt x="17523" y="13016"/>
                </a:lnTo>
                <a:lnTo>
                  <a:pt x="16973" y="12436"/>
                </a:lnTo>
                <a:lnTo>
                  <a:pt x="16355" y="12041"/>
                </a:lnTo>
                <a:lnTo>
                  <a:pt x="16011" y="11832"/>
                </a:lnTo>
                <a:lnTo>
                  <a:pt x="15690" y="11716"/>
                </a:lnTo>
                <a:lnTo>
                  <a:pt x="15232" y="11716"/>
                </a:lnTo>
                <a:lnTo>
                  <a:pt x="14843" y="11716"/>
                </a:lnTo>
                <a:lnTo>
                  <a:pt x="15461" y="11252"/>
                </a:lnTo>
                <a:lnTo>
                  <a:pt x="16126" y="10858"/>
                </a:lnTo>
                <a:lnTo>
                  <a:pt x="16973" y="10649"/>
                </a:lnTo>
                <a:lnTo>
                  <a:pt x="17798" y="10417"/>
                </a:lnTo>
                <a:lnTo>
                  <a:pt x="18806" y="10301"/>
                </a:lnTo>
                <a:lnTo>
                  <a:pt x="19653" y="10301"/>
                </a:lnTo>
                <a:lnTo>
                  <a:pt x="20478" y="10417"/>
                </a:lnTo>
                <a:lnTo>
                  <a:pt x="21256" y="10533"/>
                </a:lnTo>
                <a:lnTo>
                  <a:pt x="20707" y="9837"/>
                </a:lnTo>
                <a:lnTo>
                  <a:pt x="19859" y="9234"/>
                </a:lnTo>
                <a:lnTo>
                  <a:pt x="18806" y="8538"/>
                </a:lnTo>
                <a:lnTo>
                  <a:pt x="17637" y="8144"/>
                </a:lnTo>
                <a:lnTo>
                  <a:pt x="16973" y="8027"/>
                </a:lnTo>
                <a:lnTo>
                  <a:pt x="16355" y="7935"/>
                </a:lnTo>
                <a:lnTo>
                  <a:pt x="15805" y="7935"/>
                </a:lnTo>
                <a:lnTo>
                  <a:pt x="15118" y="8027"/>
                </a:lnTo>
                <a:lnTo>
                  <a:pt x="14614" y="8144"/>
                </a:lnTo>
                <a:lnTo>
                  <a:pt x="14064" y="8422"/>
                </a:lnTo>
                <a:lnTo>
                  <a:pt x="13606" y="8886"/>
                </a:lnTo>
                <a:lnTo>
                  <a:pt x="13217" y="9327"/>
                </a:lnTo>
                <a:lnTo>
                  <a:pt x="13606" y="8538"/>
                </a:lnTo>
                <a:lnTo>
                  <a:pt x="13950" y="7935"/>
                </a:lnTo>
                <a:lnTo>
                  <a:pt x="14293" y="7123"/>
                </a:lnTo>
                <a:lnTo>
                  <a:pt x="14499" y="6519"/>
                </a:lnTo>
                <a:lnTo>
                  <a:pt x="14614" y="5823"/>
                </a:lnTo>
                <a:lnTo>
                  <a:pt x="14614" y="5220"/>
                </a:lnTo>
                <a:lnTo>
                  <a:pt x="14408" y="4524"/>
                </a:lnTo>
                <a:lnTo>
                  <a:pt x="14064" y="3898"/>
                </a:lnTo>
                <a:lnTo>
                  <a:pt x="13606" y="3225"/>
                </a:lnTo>
                <a:lnTo>
                  <a:pt x="13331" y="2598"/>
                </a:lnTo>
                <a:lnTo>
                  <a:pt x="13102" y="2042"/>
                </a:lnTo>
                <a:lnTo>
                  <a:pt x="12896" y="1485"/>
                </a:lnTo>
                <a:lnTo>
                  <a:pt x="12781" y="1090"/>
                </a:lnTo>
                <a:lnTo>
                  <a:pt x="12667" y="626"/>
                </a:lnTo>
                <a:lnTo>
                  <a:pt x="12667" y="278"/>
                </a:lnTo>
                <a:lnTo>
                  <a:pt x="12667" y="0"/>
                </a:lnTo>
                <a:lnTo>
                  <a:pt x="12163" y="394"/>
                </a:lnTo>
                <a:lnTo>
                  <a:pt x="11728" y="974"/>
                </a:lnTo>
                <a:lnTo>
                  <a:pt x="11155" y="1601"/>
                </a:lnTo>
                <a:lnTo>
                  <a:pt x="10766" y="2390"/>
                </a:lnTo>
                <a:lnTo>
                  <a:pt x="10330" y="3109"/>
                </a:lnTo>
                <a:lnTo>
                  <a:pt x="10101" y="3898"/>
                </a:lnTo>
                <a:lnTo>
                  <a:pt x="9987" y="4524"/>
                </a:lnTo>
                <a:lnTo>
                  <a:pt x="10101" y="5220"/>
                </a:lnTo>
                <a:lnTo>
                  <a:pt x="10216" y="5823"/>
                </a:lnTo>
                <a:lnTo>
                  <a:pt x="10330" y="6403"/>
                </a:lnTo>
                <a:lnTo>
                  <a:pt x="10330" y="6914"/>
                </a:lnTo>
                <a:lnTo>
                  <a:pt x="10216" y="7471"/>
                </a:lnTo>
                <a:lnTo>
                  <a:pt x="10101" y="7935"/>
                </a:lnTo>
                <a:lnTo>
                  <a:pt x="9872" y="8329"/>
                </a:lnTo>
                <a:lnTo>
                  <a:pt x="9643" y="8654"/>
                </a:lnTo>
                <a:lnTo>
                  <a:pt x="9368" y="9002"/>
                </a:lnTo>
                <a:close/>
              </a:path>
            </a:pathLst>
          </a:custGeom>
          <a:solidFill>
            <a:srgbClr val="008000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/>
          <a:p>
            <a:pPr algn="ctr">
              <a:defRPr/>
            </a:pPr>
            <a:endParaRPr lang="en-US"/>
          </a:p>
        </p:txBody>
      </p:sp>
      <p:cxnSp>
        <p:nvCxnSpPr>
          <p:cNvPr id="117769" name="Gerade Verbindung mit Pfeil 13"/>
          <p:cNvCxnSpPr>
            <a:cxnSpLocks noChangeShapeType="1"/>
          </p:cNvCxnSpPr>
          <p:nvPr/>
        </p:nvCxnSpPr>
        <p:spPr bwMode="auto">
          <a:xfrm>
            <a:off x="4500563" y="3068638"/>
            <a:ext cx="215900" cy="1439862"/>
          </a:xfrm>
          <a:prstGeom prst="straightConnector1">
            <a:avLst/>
          </a:prstGeom>
          <a:noFill/>
          <a:ln w="38100" algn="ctr">
            <a:solidFill>
              <a:srgbClr val="FF0000"/>
            </a:solidFill>
            <a:round/>
            <a:headEnd/>
            <a:tailEnd type="arrow" w="med" len="med"/>
          </a:ln>
        </p:spPr>
      </p:cxnSp>
      <p:cxnSp>
        <p:nvCxnSpPr>
          <p:cNvPr id="117770" name="Gerade Verbindung mit Pfeil 14"/>
          <p:cNvCxnSpPr>
            <a:cxnSpLocks noChangeShapeType="1"/>
          </p:cNvCxnSpPr>
          <p:nvPr/>
        </p:nvCxnSpPr>
        <p:spPr bwMode="auto">
          <a:xfrm flipH="1">
            <a:off x="4868863" y="3068638"/>
            <a:ext cx="134937" cy="1439862"/>
          </a:xfrm>
          <a:prstGeom prst="straightConnector1">
            <a:avLst/>
          </a:prstGeom>
          <a:noFill/>
          <a:ln w="38100" algn="ctr">
            <a:solidFill>
              <a:srgbClr val="C00000"/>
            </a:solidFill>
            <a:round/>
            <a:headEnd/>
            <a:tailEnd type="arrow" w="med" len="med"/>
          </a:ln>
        </p:spPr>
      </p:cxnSp>
      <p:cxnSp>
        <p:nvCxnSpPr>
          <p:cNvPr id="117771" name="Gerade Verbindung mit Pfeil 18"/>
          <p:cNvCxnSpPr>
            <a:cxnSpLocks noChangeShapeType="1"/>
          </p:cNvCxnSpPr>
          <p:nvPr/>
        </p:nvCxnSpPr>
        <p:spPr bwMode="auto">
          <a:xfrm>
            <a:off x="5795963" y="2636838"/>
            <a:ext cx="136525" cy="863600"/>
          </a:xfrm>
          <a:prstGeom prst="straightConnector1">
            <a:avLst/>
          </a:prstGeom>
          <a:noFill/>
          <a:ln w="38100" algn="ctr">
            <a:solidFill>
              <a:srgbClr val="FF0000"/>
            </a:solidFill>
            <a:round/>
            <a:headEnd/>
            <a:tailEnd type="arrow" w="med" len="med"/>
          </a:ln>
        </p:spPr>
      </p:cxnSp>
      <p:cxnSp>
        <p:nvCxnSpPr>
          <p:cNvPr id="117772" name="Gerade Verbindung mit Pfeil 19"/>
          <p:cNvCxnSpPr>
            <a:cxnSpLocks noChangeShapeType="1"/>
          </p:cNvCxnSpPr>
          <p:nvPr/>
        </p:nvCxnSpPr>
        <p:spPr bwMode="auto">
          <a:xfrm flipH="1">
            <a:off x="6084888" y="2636838"/>
            <a:ext cx="71437" cy="863600"/>
          </a:xfrm>
          <a:prstGeom prst="straightConnector1">
            <a:avLst/>
          </a:prstGeom>
          <a:noFill/>
          <a:ln w="38100" algn="ctr">
            <a:solidFill>
              <a:srgbClr val="C00000"/>
            </a:solidFill>
            <a:round/>
            <a:headEnd/>
            <a:tailEnd type="arrow" w="med" len="med"/>
          </a:ln>
        </p:spPr>
      </p:cxnSp>
      <p:cxnSp>
        <p:nvCxnSpPr>
          <p:cNvPr id="117773" name="Gerade Verbindung mit Pfeil 22"/>
          <p:cNvCxnSpPr>
            <a:cxnSpLocks noChangeShapeType="1"/>
          </p:cNvCxnSpPr>
          <p:nvPr/>
        </p:nvCxnSpPr>
        <p:spPr bwMode="auto">
          <a:xfrm>
            <a:off x="5940425" y="3716338"/>
            <a:ext cx="134938" cy="865187"/>
          </a:xfrm>
          <a:prstGeom prst="straightConnector1">
            <a:avLst/>
          </a:prstGeom>
          <a:noFill/>
          <a:ln w="38100" algn="ctr">
            <a:solidFill>
              <a:srgbClr val="FF0000"/>
            </a:solidFill>
            <a:prstDash val="sysDash"/>
            <a:round/>
            <a:headEnd/>
            <a:tailEnd type="arrow" w="med" len="med"/>
          </a:ln>
        </p:spPr>
      </p:cxnSp>
      <p:cxnSp>
        <p:nvCxnSpPr>
          <p:cNvPr id="117774" name="Gerade Verbindung mit Pfeil 23"/>
          <p:cNvCxnSpPr>
            <a:cxnSpLocks noChangeShapeType="1"/>
          </p:cNvCxnSpPr>
          <p:nvPr/>
        </p:nvCxnSpPr>
        <p:spPr bwMode="auto">
          <a:xfrm>
            <a:off x="6156325" y="3716338"/>
            <a:ext cx="71438" cy="865187"/>
          </a:xfrm>
          <a:prstGeom prst="straightConnector1">
            <a:avLst/>
          </a:prstGeom>
          <a:noFill/>
          <a:ln w="38100" algn="ctr">
            <a:solidFill>
              <a:srgbClr val="C00000"/>
            </a:solidFill>
            <a:round/>
            <a:headEnd/>
            <a:tailEnd type="arrow" w="med" len="med"/>
          </a:ln>
        </p:spPr>
      </p:cxnSp>
      <p:sp>
        <p:nvSpPr>
          <p:cNvPr id="10" name="plant"/>
          <p:cNvSpPr>
            <a:spLocks noEditPoints="1" noChangeArrowheads="1"/>
          </p:cNvSpPr>
          <p:nvPr/>
        </p:nvSpPr>
        <p:spPr bwMode="auto">
          <a:xfrm>
            <a:off x="5435600" y="3357563"/>
            <a:ext cx="3240088" cy="601662"/>
          </a:xfrm>
          <a:custGeom>
            <a:avLst/>
            <a:gdLst>
              <a:gd name="T0" fmla="*/ 0 w 21600"/>
              <a:gd name="T1" fmla="*/ 0 h 21600"/>
              <a:gd name="T2" fmla="*/ 10800 w 21600"/>
              <a:gd name="T3" fmla="*/ 0 h 21600"/>
              <a:gd name="T4" fmla="*/ 21600 w 21600"/>
              <a:gd name="T5" fmla="*/ 0 h 21600"/>
              <a:gd name="T6" fmla="*/ 21600 w 21600"/>
              <a:gd name="T7" fmla="*/ 10800 h 21600"/>
              <a:gd name="T8" fmla="*/ 21600 w 21600"/>
              <a:gd name="T9" fmla="*/ 21600 h 21600"/>
              <a:gd name="T10" fmla="*/ 10800 w 21600"/>
              <a:gd name="T11" fmla="*/ 21600 h 21600"/>
              <a:gd name="T12" fmla="*/ 0 w 21600"/>
              <a:gd name="T13" fmla="*/ 21600 h 21600"/>
              <a:gd name="T14" fmla="*/ 0 w 21600"/>
              <a:gd name="T15" fmla="*/ 10800 h 21600"/>
              <a:gd name="T16" fmla="*/ 7100 w 21600"/>
              <a:gd name="T17" fmla="*/ 10092 h 21600"/>
              <a:gd name="T18" fmla="*/ 14545 w 21600"/>
              <a:gd name="T19" fmla="*/ 13573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9368" y="9002"/>
                </a:moveTo>
                <a:lnTo>
                  <a:pt x="9254" y="8422"/>
                </a:lnTo>
                <a:lnTo>
                  <a:pt x="9139" y="7935"/>
                </a:lnTo>
                <a:lnTo>
                  <a:pt x="8819" y="7355"/>
                </a:lnTo>
                <a:lnTo>
                  <a:pt x="8475" y="6728"/>
                </a:lnTo>
                <a:lnTo>
                  <a:pt x="8040" y="6287"/>
                </a:lnTo>
                <a:lnTo>
                  <a:pt x="7421" y="5707"/>
                </a:lnTo>
                <a:lnTo>
                  <a:pt x="6574" y="5429"/>
                </a:lnTo>
                <a:lnTo>
                  <a:pt x="5452" y="5313"/>
                </a:lnTo>
                <a:lnTo>
                  <a:pt x="4856" y="5220"/>
                </a:lnTo>
                <a:lnTo>
                  <a:pt x="4169" y="5220"/>
                </a:lnTo>
                <a:lnTo>
                  <a:pt x="3665" y="5104"/>
                </a:lnTo>
                <a:lnTo>
                  <a:pt x="3001" y="4872"/>
                </a:lnTo>
                <a:lnTo>
                  <a:pt x="2497" y="4756"/>
                </a:lnTo>
                <a:lnTo>
                  <a:pt x="2062" y="4408"/>
                </a:lnTo>
                <a:lnTo>
                  <a:pt x="1603" y="4083"/>
                </a:lnTo>
                <a:lnTo>
                  <a:pt x="1283" y="3689"/>
                </a:lnTo>
                <a:lnTo>
                  <a:pt x="1283" y="4315"/>
                </a:lnTo>
                <a:lnTo>
                  <a:pt x="1489" y="5104"/>
                </a:lnTo>
                <a:lnTo>
                  <a:pt x="1832" y="6055"/>
                </a:lnTo>
                <a:lnTo>
                  <a:pt x="2382" y="6914"/>
                </a:lnTo>
                <a:lnTo>
                  <a:pt x="2680" y="7471"/>
                </a:lnTo>
                <a:lnTo>
                  <a:pt x="3115" y="7935"/>
                </a:lnTo>
                <a:lnTo>
                  <a:pt x="3573" y="8213"/>
                </a:lnTo>
                <a:lnTo>
                  <a:pt x="4077" y="8654"/>
                </a:lnTo>
                <a:lnTo>
                  <a:pt x="4627" y="9002"/>
                </a:lnTo>
                <a:lnTo>
                  <a:pt x="5245" y="9234"/>
                </a:lnTo>
                <a:lnTo>
                  <a:pt x="6024" y="9443"/>
                </a:lnTo>
                <a:lnTo>
                  <a:pt x="6757" y="9628"/>
                </a:lnTo>
                <a:lnTo>
                  <a:pt x="5177" y="10069"/>
                </a:lnTo>
                <a:lnTo>
                  <a:pt x="3963" y="10649"/>
                </a:lnTo>
                <a:lnTo>
                  <a:pt x="3344" y="11044"/>
                </a:lnTo>
                <a:lnTo>
                  <a:pt x="2886" y="11600"/>
                </a:lnTo>
                <a:lnTo>
                  <a:pt x="2497" y="12041"/>
                </a:lnTo>
                <a:lnTo>
                  <a:pt x="1947" y="12343"/>
                </a:lnTo>
                <a:lnTo>
                  <a:pt x="1168" y="12668"/>
                </a:lnTo>
                <a:lnTo>
                  <a:pt x="0" y="12900"/>
                </a:lnTo>
                <a:lnTo>
                  <a:pt x="435" y="13248"/>
                </a:lnTo>
                <a:lnTo>
                  <a:pt x="779" y="13456"/>
                </a:lnTo>
                <a:lnTo>
                  <a:pt x="1283" y="13642"/>
                </a:lnTo>
                <a:lnTo>
                  <a:pt x="1718" y="13758"/>
                </a:lnTo>
                <a:lnTo>
                  <a:pt x="2680" y="13851"/>
                </a:lnTo>
                <a:lnTo>
                  <a:pt x="3573" y="13758"/>
                </a:lnTo>
                <a:lnTo>
                  <a:pt x="4512" y="13526"/>
                </a:lnTo>
                <a:lnTo>
                  <a:pt x="5360" y="13248"/>
                </a:lnTo>
                <a:lnTo>
                  <a:pt x="6139" y="12900"/>
                </a:lnTo>
                <a:lnTo>
                  <a:pt x="6757" y="12552"/>
                </a:lnTo>
                <a:lnTo>
                  <a:pt x="6459" y="13132"/>
                </a:lnTo>
                <a:lnTo>
                  <a:pt x="6139" y="13642"/>
                </a:lnTo>
                <a:lnTo>
                  <a:pt x="5910" y="14199"/>
                </a:lnTo>
                <a:lnTo>
                  <a:pt x="5681" y="14663"/>
                </a:lnTo>
                <a:lnTo>
                  <a:pt x="5681" y="15150"/>
                </a:lnTo>
                <a:lnTo>
                  <a:pt x="5681" y="15730"/>
                </a:lnTo>
                <a:lnTo>
                  <a:pt x="5681" y="16241"/>
                </a:lnTo>
                <a:lnTo>
                  <a:pt x="5795" y="16913"/>
                </a:lnTo>
                <a:lnTo>
                  <a:pt x="5910" y="17586"/>
                </a:lnTo>
                <a:lnTo>
                  <a:pt x="5910" y="18213"/>
                </a:lnTo>
                <a:lnTo>
                  <a:pt x="5795" y="18885"/>
                </a:lnTo>
                <a:lnTo>
                  <a:pt x="5566" y="19396"/>
                </a:lnTo>
                <a:lnTo>
                  <a:pt x="5245" y="19976"/>
                </a:lnTo>
                <a:lnTo>
                  <a:pt x="4971" y="20370"/>
                </a:lnTo>
                <a:lnTo>
                  <a:pt x="4512" y="20811"/>
                </a:lnTo>
                <a:lnTo>
                  <a:pt x="4077" y="21043"/>
                </a:lnTo>
                <a:lnTo>
                  <a:pt x="5177" y="20927"/>
                </a:lnTo>
                <a:lnTo>
                  <a:pt x="6253" y="20486"/>
                </a:lnTo>
                <a:lnTo>
                  <a:pt x="7421" y="19976"/>
                </a:lnTo>
                <a:lnTo>
                  <a:pt x="8361" y="19187"/>
                </a:lnTo>
                <a:lnTo>
                  <a:pt x="8819" y="18769"/>
                </a:lnTo>
                <a:lnTo>
                  <a:pt x="9139" y="18213"/>
                </a:lnTo>
                <a:lnTo>
                  <a:pt x="9437" y="17772"/>
                </a:lnTo>
                <a:lnTo>
                  <a:pt x="9643" y="17261"/>
                </a:lnTo>
                <a:lnTo>
                  <a:pt x="9872" y="16681"/>
                </a:lnTo>
                <a:lnTo>
                  <a:pt x="9872" y="16171"/>
                </a:lnTo>
                <a:lnTo>
                  <a:pt x="9872" y="15614"/>
                </a:lnTo>
                <a:lnTo>
                  <a:pt x="9758" y="15057"/>
                </a:lnTo>
                <a:lnTo>
                  <a:pt x="10216" y="15498"/>
                </a:lnTo>
                <a:lnTo>
                  <a:pt x="10537" y="16241"/>
                </a:lnTo>
                <a:lnTo>
                  <a:pt x="10834" y="17145"/>
                </a:lnTo>
                <a:lnTo>
                  <a:pt x="11041" y="18213"/>
                </a:lnTo>
                <a:lnTo>
                  <a:pt x="11155" y="19187"/>
                </a:lnTo>
                <a:lnTo>
                  <a:pt x="11155" y="20185"/>
                </a:lnTo>
                <a:lnTo>
                  <a:pt x="11155" y="20579"/>
                </a:lnTo>
                <a:lnTo>
                  <a:pt x="11041" y="21043"/>
                </a:lnTo>
                <a:lnTo>
                  <a:pt x="10926" y="21391"/>
                </a:lnTo>
                <a:lnTo>
                  <a:pt x="10766" y="21600"/>
                </a:lnTo>
                <a:lnTo>
                  <a:pt x="11499" y="21484"/>
                </a:lnTo>
                <a:lnTo>
                  <a:pt x="12323" y="21043"/>
                </a:lnTo>
                <a:lnTo>
                  <a:pt x="13102" y="20370"/>
                </a:lnTo>
                <a:lnTo>
                  <a:pt x="13606" y="19628"/>
                </a:lnTo>
                <a:lnTo>
                  <a:pt x="13950" y="19071"/>
                </a:lnTo>
                <a:lnTo>
                  <a:pt x="14064" y="18677"/>
                </a:lnTo>
                <a:lnTo>
                  <a:pt x="14179" y="18097"/>
                </a:lnTo>
                <a:lnTo>
                  <a:pt x="14293" y="17586"/>
                </a:lnTo>
                <a:lnTo>
                  <a:pt x="14179" y="16913"/>
                </a:lnTo>
                <a:lnTo>
                  <a:pt x="14064" y="16241"/>
                </a:lnTo>
                <a:lnTo>
                  <a:pt x="13835" y="15614"/>
                </a:lnTo>
                <a:lnTo>
                  <a:pt x="13560" y="14872"/>
                </a:lnTo>
                <a:lnTo>
                  <a:pt x="13950" y="14941"/>
                </a:lnTo>
                <a:lnTo>
                  <a:pt x="14408" y="15150"/>
                </a:lnTo>
                <a:lnTo>
                  <a:pt x="14843" y="15266"/>
                </a:lnTo>
                <a:lnTo>
                  <a:pt x="15232" y="15614"/>
                </a:lnTo>
                <a:lnTo>
                  <a:pt x="15576" y="15846"/>
                </a:lnTo>
                <a:lnTo>
                  <a:pt x="15897" y="16171"/>
                </a:lnTo>
                <a:lnTo>
                  <a:pt x="16126" y="16473"/>
                </a:lnTo>
                <a:lnTo>
                  <a:pt x="16240" y="16913"/>
                </a:lnTo>
                <a:lnTo>
                  <a:pt x="16515" y="17261"/>
                </a:lnTo>
                <a:lnTo>
                  <a:pt x="17088" y="17586"/>
                </a:lnTo>
                <a:lnTo>
                  <a:pt x="17798" y="17865"/>
                </a:lnTo>
                <a:lnTo>
                  <a:pt x="18576" y="18097"/>
                </a:lnTo>
                <a:lnTo>
                  <a:pt x="19424" y="18213"/>
                </a:lnTo>
                <a:lnTo>
                  <a:pt x="20317" y="18213"/>
                </a:lnTo>
                <a:lnTo>
                  <a:pt x="21050" y="18213"/>
                </a:lnTo>
                <a:lnTo>
                  <a:pt x="21600" y="17865"/>
                </a:lnTo>
                <a:lnTo>
                  <a:pt x="21165" y="17656"/>
                </a:lnTo>
                <a:lnTo>
                  <a:pt x="20592" y="17470"/>
                </a:lnTo>
                <a:lnTo>
                  <a:pt x="20088" y="17029"/>
                </a:lnTo>
                <a:lnTo>
                  <a:pt x="19653" y="16681"/>
                </a:lnTo>
                <a:lnTo>
                  <a:pt x="19195" y="16241"/>
                </a:lnTo>
                <a:lnTo>
                  <a:pt x="18920" y="15962"/>
                </a:lnTo>
                <a:lnTo>
                  <a:pt x="18576" y="15498"/>
                </a:lnTo>
                <a:lnTo>
                  <a:pt x="18576" y="15057"/>
                </a:lnTo>
                <a:lnTo>
                  <a:pt x="18485" y="14756"/>
                </a:lnTo>
                <a:lnTo>
                  <a:pt x="18256" y="14199"/>
                </a:lnTo>
                <a:lnTo>
                  <a:pt x="17912" y="13526"/>
                </a:lnTo>
                <a:lnTo>
                  <a:pt x="17523" y="13016"/>
                </a:lnTo>
                <a:lnTo>
                  <a:pt x="16973" y="12436"/>
                </a:lnTo>
                <a:lnTo>
                  <a:pt x="16355" y="12041"/>
                </a:lnTo>
                <a:lnTo>
                  <a:pt x="16011" y="11832"/>
                </a:lnTo>
                <a:lnTo>
                  <a:pt x="15690" y="11716"/>
                </a:lnTo>
                <a:lnTo>
                  <a:pt x="15232" y="11716"/>
                </a:lnTo>
                <a:lnTo>
                  <a:pt x="14843" y="11716"/>
                </a:lnTo>
                <a:lnTo>
                  <a:pt x="15461" y="11252"/>
                </a:lnTo>
                <a:lnTo>
                  <a:pt x="16126" y="10858"/>
                </a:lnTo>
                <a:lnTo>
                  <a:pt x="16973" y="10649"/>
                </a:lnTo>
                <a:lnTo>
                  <a:pt x="17798" y="10417"/>
                </a:lnTo>
                <a:lnTo>
                  <a:pt x="18806" y="10301"/>
                </a:lnTo>
                <a:lnTo>
                  <a:pt x="19653" y="10301"/>
                </a:lnTo>
                <a:lnTo>
                  <a:pt x="20478" y="10417"/>
                </a:lnTo>
                <a:lnTo>
                  <a:pt x="21256" y="10533"/>
                </a:lnTo>
                <a:lnTo>
                  <a:pt x="20707" y="9837"/>
                </a:lnTo>
                <a:lnTo>
                  <a:pt x="19859" y="9234"/>
                </a:lnTo>
                <a:lnTo>
                  <a:pt x="18806" y="8538"/>
                </a:lnTo>
                <a:lnTo>
                  <a:pt x="17637" y="8144"/>
                </a:lnTo>
                <a:lnTo>
                  <a:pt x="16973" y="8027"/>
                </a:lnTo>
                <a:lnTo>
                  <a:pt x="16355" y="7935"/>
                </a:lnTo>
                <a:lnTo>
                  <a:pt x="15805" y="7935"/>
                </a:lnTo>
                <a:lnTo>
                  <a:pt x="15118" y="8027"/>
                </a:lnTo>
                <a:lnTo>
                  <a:pt x="14614" y="8144"/>
                </a:lnTo>
                <a:lnTo>
                  <a:pt x="14064" y="8422"/>
                </a:lnTo>
                <a:lnTo>
                  <a:pt x="13606" y="8886"/>
                </a:lnTo>
                <a:lnTo>
                  <a:pt x="13217" y="9327"/>
                </a:lnTo>
                <a:lnTo>
                  <a:pt x="13606" y="8538"/>
                </a:lnTo>
                <a:lnTo>
                  <a:pt x="13950" y="7935"/>
                </a:lnTo>
                <a:lnTo>
                  <a:pt x="14293" y="7123"/>
                </a:lnTo>
                <a:lnTo>
                  <a:pt x="14499" y="6519"/>
                </a:lnTo>
                <a:lnTo>
                  <a:pt x="14614" y="5823"/>
                </a:lnTo>
                <a:lnTo>
                  <a:pt x="14614" y="5220"/>
                </a:lnTo>
                <a:lnTo>
                  <a:pt x="14408" y="4524"/>
                </a:lnTo>
                <a:lnTo>
                  <a:pt x="14064" y="3898"/>
                </a:lnTo>
                <a:lnTo>
                  <a:pt x="13606" y="3225"/>
                </a:lnTo>
                <a:lnTo>
                  <a:pt x="13331" y="2598"/>
                </a:lnTo>
                <a:lnTo>
                  <a:pt x="13102" y="2042"/>
                </a:lnTo>
                <a:lnTo>
                  <a:pt x="12896" y="1485"/>
                </a:lnTo>
                <a:lnTo>
                  <a:pt x="12781" y="1090"/>
                </a:lnTo>
                <a:lnTo>
                  <a:pt x="12667" y="626"/>
                </a:lnTo>
                <a:lnTo>
                  <a:pt x="12667" y="278"/>
                </a:lnTo>
                <a:lnTo>
                  <a:pt x="12667" y="0"/>
                </a:lnTo>
                <a:lnTo>
                  <a:pt x="12163" y="394"/>
                </a:lnTo>
                <a:lnTo>
                  <a:pt x="11728" y="974"/>
                </a:lnTo>
                <a:lnTo>
                  <a:pt x="11155" y="1601"/>
                </a:lnTo>
                <a:lnTo>
                  <a:pt x="10766" y="2390"/>
                </a:lnTo>
                <a:lnTo>
                  <a:pt x="10330" y="3109"/>
                </a:lnTo>
                <a:lnTo>
                  <a:pt x="10101" y="3898"/>
                </a:lnTo>
                <a:lnTo>
                  <a:pt x="9987" y="4524"/>
                </a:lnTo>
                <a:lnTo>
                  <a:pt x="10101" y="5220"/>
                </a:lnTo>
                <a:lnTo>
                  <a:pt x="10216" y="5823"/>
                </a:lnTo>
                <a:lnTo>
                  <a:pt x="10330" y="6403"/>
                </a:lnTo>
                <a:lnTo>
                  <a:pt x="10330" y="6914"/>
                </a:lnTo>
                <a:lnTo>
                  <a:pt x="10216" y="7471"/>
                </a:lnTo>
                <a:lnTo>
                  <a:pt x="10101" y="7935"/>
                </a:lnTo>
                <a:lnTo>
                  <a:pt x="9872" y="8329"/>
                </a:lnTo>
                <a:lnTo>
                  <a:pt x="9643" y="8654"/>
                </a:lnTo>
                <a:lnTo>
                  <a:pt x="9368" y="9002"/>
                </a:lnTo>
                <a:close/>
              </a:path>
            </a:pathLst>
          </a:custGeom>
          <a:solidFill>
            <a:srgbClr val="008000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/>
          <a:p>
            <a:pPr algn="ctr">
              <a:defRPr/>
            </a:pPr>
            <a:endParaRPr lang="en-US"/>
          </a:p>
        </p:txBody>
      </p:sp>
      <p:sp>
        <p:nvSpPr>
          <p:cNvPr id="117776" name="Textfeld 25"/>
          <p:cNvSpPr txBox="1">
            <a:spLocks noChangeArrowheads="1"/>
          </p:cNvSpPr>
          <p:nvPr/>
        </p:nvSpPr>
        <p:spPr bwMode="auto">
          <a:xfrm>
            <a:off x="3924300" y="2727325"/>
            <a:ext cx="811213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600">
                <a:solidFill>
                  <a:srgbClr val="FF0000"/>
                </a:solidFill>
              </a:rPr>
              <a:t>660 нм</a:t>
            </a:r>
          </a:p>
        </p:txBody>
      </p:sp>
      <p:sp>
        <p:nvSpPr>
          <p:cNvPr id="117777" name="Textfeld 26"/>
          <p:cNvSpPr txBox="1">
            <a:spLocks noChangeArrowheads="1"/>
          </p:cNvSpPr>
          <p:nvPr/>
        </p:nvSpPr>
        <p:spPr bwMode="auto">
          <a:xfrm>
            <a:off x="4624388" y="2727325"/>
            <a:ext cx="811212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600">
                <a:solidFill>
                  <a:srgbClr val="C00000"/>
                </a:solidFill>
              </a:rPr>
              <a:t>730 нм</a:t>
            </a:r>
          </a:p>
        </p:txBody>
      </p:sp>
      <p:sp>
        <p:nvSpPr>
          <p:cNvPr id="117778" name="Textfeld 28"/>
          <p:cNvSpPr txBox="1">
            <a:spLocks noChangeArrowheads="1"/>
          </p:cNvSpPr>
          <p:nvPr/>
        </p:nvSpPr>
        <p:spPr bwMode="auto">
          <a:xfrm>
            <a:off x="5238750" y="2349500"/>
            <a:ext cx="8128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600">
                <a:solidFill>
                  <a:srgbClr val="FF0000"/>
                </a:solidFill>
              </a:rPr>
              <a:t>660 нм</a:t>
            </a:r>
          </a:p>
        </p:txBody>
      </p:sp>
      <p:sp>
        <p:nvSpPr>
          <p:cNvPr id="117779" name="Textfeld 29"/>
          <p:cNvSpPr txBox="1">
            <a:spLocks noChangeArrowheads="1"/>
          </p:cNvSpPr>
          <p:nvPr/>
        </p:nvSpPr>
        <p:spPr bwMode="auto">
          <a:xfrm>
            <a:off x="5940425" y="2349500"/>
            <a:ext cx="811213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600">
                <a:solidFill>
                  <a:srgbClr val="C00000"/>
                </a:solidFill>
              </a:rPr>
              <a:t>730 нм</a:t>
            </a:r>
          </a:p>
        </p:txBody>
      </p:sp>
      <p:sp>
        <p:nvSpPr>
          <p:cNvPr id="32" name="Inhaltsplatzhalter 2"/>
          <p:cNvSpPr txBox="1">
            <a:spLocks/>
          </p:cNvSpPr>
          <p:nvPr/>
        </p:nvSpPr>
        <p:spPr bwMode="gray">
          <a:xfrm>
            <a:off x="539750" y="1628775"/>
            <a:ext cx="3384550" cy="38163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/>
          <a:lstStyle/>
          <a:p>
            <a:pPr>
              <a:lnSpc>
                <a:spcPct val="110000"/>
              </a:lnSpc>
            </a:pPr>
            <a:endParaRPr lang="ru-RU" sz="1600" b="1">
              <a:solidFill>
                <a:srgbClr val="58585A"/>
              </a:solidFill>
            </a:endParaRPr>
          </a:p>
          <a:p>
            <a:pPr>
              <a:lnSpc>
                <a:spcPct val="110000"/>
              </a:lnSpc>
            </a:pPr>
            <a:r>
              <a:rPr lang="en-US" b="1">
                <a:solidFill>
                  <a:srgbClr val="58585A"/>
                </a:solidFill>
              </a:rPr>
              <a:t>Облучение светом с длиной волны 660 нм:</a:t>
            </a:r>
          </a:p>
          <a:p>
            <a:pPr>
              <a:lnSpc>
                <a:spcPct val="110000"/>
              </a:lnSpc>
            </a:pPr>
            <a:r>
              <a:rPr lang="en-US" sz="1300"/>
              <a:t>Если растение освещать в основном светом с длиной волны 660 нм, оно воспринимает это как прямой солнечный свет и растет нормально.</a:t>
            </a:r>
          </a:p>
          <a:p>
            <a:pPr>
              <a:lnSpc>
                <a:spcPct val="110000"/>
              </a:lnSpc>
            </a:pPr>
            <a:endParaRPr lang="ru-RU" sz="800"/>
          </a:p>
          <a:p>
            <a:pPr>
              <a:lnSpc>
                <a:spcPct val="110000"/>
              </a:lnSpc>
            </a:pPr>
            <a:r>
              <a:rPr lang="en-US" b="1">
                <a:solidFill>
                  <a:srgbClr val="58585A"/>
                </a:solidFill>
              </a:rPr>
              <a:t>Облучение светом с длиной волны 730 нм:</a:t>
            </a:r>
          </a:p>
          <a:p>
            <a:pPr>
              <a:lnSpc>
                <a:spcPct val="110000"/>
              </a:lnSpc>
            </a:pPr>
            <a:r>
              <a:rPr lang="en-US" sz="1300"/>
              <a:t>Если растение освещать в основном светом с длиной волны 730 нм, оно воспринимает это как тень от другого растения, заслоняющая солнечный свет. Реакция растения — рост на большую длину, чтобы выйти из тени. В результате растения вырастают более высокими, но необязательно с большей биомассой.</a:t>
            </a:r>
          </a:p>
          <a:p>
            <a:pPr>
              <a:lnSpc>
                <a:spcPct val="110000"/>
              </a:lnSpc>
            </a:pPr>
            <a:endParaRPr lang="ru-RU" sz="1300"/>
          </a:p>
          <a:p>
            <a:pPr>
              <a:lnSpc>
                <a:spcPct val="110000"/>
              </a:lnSpc>
            </a:pPr>
            <a:endParaRPr lang="ru-RU" b="1">
              <a:solidFill>
                <a:schemeClr val="accent2"/>
              </a:solidFill>
            </a:endParaRPr>
          </a:p>
          <a:p>
            <a:pPr>
              <a:lnSpc>
                <a:spcPct val="110000"/>
              </a:lnSpc>
            </a:pPr>
            <a:endParaRPr lang="ru-RU" b="1">
              <a:solidFill>
                <a:schemeClr val="accent2"/>
              </a:solidFill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539750" y="6021388"/>
            <a:ext cx="852488" cy="26193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000" b="1" kern="0" dirty="0"/>
              <a:t>Источник: [0]</a:t>
            </a:r>
          </a:p>
        </p:txBody>
      </p:sp>
      <p:pic>
        <p:nvPicPr>
          <p:cNvPr id="24" name="Рисунок 23">
            <a:hlinkClick r:id="rId2"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453336"/>
            <a:ext cx="2526984" cy="29841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85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собый потенциал светодиодов в цветоводстве</a:t>
            </a:r>
          </a:p>
        </p:txBody>
      </p:sp>
      <p:sp>
        <p:nvSpPr>
          <p:cNvPr id="118786" name="Inhaltsplatzhalter 2"/>
          <p:cNvSpPr>
            <a:spLocks noGrp="1"/>
          </p:cNvSpPr>
          <p:nvPr>
            <p:ph idx="1"/>
          </p:nvPr>
        </p:nvSpPr>
        <p:spPr>
          <a:xfrm>
            <a:off x="539750" y="1357313"/>
            <a:ext cx="8064500" cy="847725"/>
          </a:xfrm>
        </p:spPr>
        <p:txBody>
          <a:bodyPr/>
          <a:lstStyle/>
          <a:p>
            <a:pPr marL="0" indent="0"/>
            <a:r>
              <a:rPr lang="ru-RU" smtClean="0"/>
              <a:t>Декоративные растения традиционно имеют большую экономическую значимость. Красный и дальний красный свет влияет на взаимное превращение фитохромов, управляющих механизмами запуска цветения.</a:t>
            </a:r>
          </a:p>
          <a:p>
            <a:pPr marL="0" indent="0"/>
            <a:endParaRPr lang="ru-RU" smtClean="0"/>
          </a:p>
          <a:p>
            <a:pPr marL="0" indent="0"/>
            <a:endParaRPr lang="ru-RU" smtClean="0"/>
          </a:p>
        </p:txBody>
      </p:sp>
      <p:sp>
        <p:nvSpPr>
          <p:cNvPr id="32" name="Inhaltsplatzhalter 2"/>
          <p:cNvSpPr txBox="1">
            <a:spLocks/>
          </p:cNvSpPr>
          <p:nvPr/>
        </p:nvSpPr>
        <p:spPr bwMode="gray">
          <a:xfrm>
            <a:off x="539750" y="2636838"/>
            <a:ext cx="2736850" cy="32400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/>
          <a:lstStyle/>
          <a:p>
            <a:pPr algn="just">
              <a:lnSpc>
                <a:spcPct val="110000"/>
              </a:lnSpc>
            </a:pPr>
            <a:r>
              <a:rPr lang="en-US" sz="1600" b="1">
                <a:solidFill>
                  <a:srgbClr val="58585A"/>
                </a:solidFill>
              </a:rPr>
              <a:t>Облучение светом с длиной волны 730 нм:</a:t>
            </a:r>
          </a:p>
          <a:p>
            <a:pPr algn="just">
              <a:lnSpc>
                <a:spcPct val="110000"/>
              </a:lnSpc>
            </a:pPr>
            <a:r>
              <a:rPr lang="en-US" sz="1300"/>
              <a:t>Цикл превращения Pr в Pfr запускается красным светом с длиной волны 660 нм, представляющим дневной свет. В ночное время Pfr превращается обратно в Pr. На это обратное превращение может также активно влиять дальний красный свет с длиной волны 730 нм.</a:t>
            </a:r>
          </a:p>
          <a:p>
            <a:pPr algn="just">
              <a:lnSpc>
                <a:spcPct val="110000"/>
              </a:lnSpc>
            </a:pPr>
            <a:r>
              <a:rPr lang="en-US" sz="1300"/>
              <a:t>Отсюда возможность полностью контролировать сроки цветения независимо от времен года.</a:t>
            </a:r>
          </a:p>
          <a:p>
            <a:pPr algn="just">
              <a:lnSpc>
                <a:spcPct val="110000"/>
              </a:lnSpc>
            </a:pPr>
            <a:endParaRPr lang="ru-RU" sz="1300"/>
          </a:p>
          <a:p>
            <a:pPr algn="just">
              <a:lnSpc>
                <a:spcPct val="110000"/>
              </a:lnSpc>
            </a:pPr>
            <a:endParaRPr lang="ru-RU" sz="1400" b="1">
              <a:solidFill>
                <a:schemeClr val="accent2"/>
              </a:solidFill>
            </a:endParaRPr>
          </a:p>
          <a:p>
            <a:pPr algn="just">
              <a:lnSpc>
                <a:spcPct val="110000"/>
              </a:lnSpc>
            </a:pPr>
            <a:endParaRPr lang="ru-RU" sz="1400" b="1">
              <a:solidFill>
                <a:schemeClr val="accent2"/>
              </a:solidFill>
            </a:endParaRPr>
          </a:p>
        </p:txBody>
      </p:sp>
      <p:sp>
        <p:nvSpPr>
          <p:cNvPr id="22" name="Ellipse 21"/>
          <p:cNvSpPr/>
          <p:nvPr/>
        </p:nvSpPr>
        <p:spPr bwMode="auto">
          <a:xfrm>
            <a:off x="3492500" y="2976563"/>
            <a:ext cx="1150938" cy="1150937"/>
          </a:xfrm>
          <a:prstGeom prst="ellipse">
            <a:avLst/>
          </a:prstGeom>
          <a:solidFill>
            <a:srgbClr val="FF0000"/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90000" tIns="46800" rIns="90000" bIns="46800" anchor="ctr"/>
          <a:lstStyle/>
          <a:p>
            <a:pPr algn="ctr">
              <a:lnSpc>
                <a:spcPct val="110000"/>
              </a:lnSpc>
              <a:defRPr/>
            </a:pPr>
            <a:r>
              <a:rPr dirty="0"/>
              <a:t>Pr</a:t>
            </a:r>
            <a:endParaRPr lang="ru-RU" dirty="0"/>
          </a:p>
        </p:txBody>
      </p:sp>
      <p:sp>
        <p:nvSpPr>
          <p:cNvPr id="25" name="Ellipse 24"/>
          <p:cNvSpPr/>
          <p:nvPr/>
        </p:nvSpPr>
        <p:spPr bwMode="auto">
          <a:xfrm>
            <a:off x="6084888" y="2976563"/>
            <a:ext cx="1150937" cy="1150937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90000" tIns="46800" rIns="90000" bIns="46800" anchor="ctr"/>
          <a:lstStyle/>
          <a:p>
            <a:pPr algn="ctr">
              <a:lnSpc>
                <a:spcPct val="110000"/>
              </a:lnSpc>
              <a:defRPr/>
            </a:pPr>
            <a:r>
              <a:rPr lang="en-US" dirty="0"/>
              <a:t>Pfr</a:t>
            </a:r>
            <a:endParaRPr lang="ru-RU" dirty="0"/>
          </a:p>
        </p:txBody>
      </p:sp>
      <p:cxnSp>
        <p:nvCxnSpPr>
          <p:cNvPr id="118790" name="Gekrümmte Verbindung 33"/>
          <p:cNvCxnSpPr>
            <a:cxnSpLocks noChangeShapeType="1"/>
            <a:stCxn id="22" idx="7"/>
            <a:endCxn id="25" idx="1"/>
          </p:cNvCxnSpPr>
          <p:nvPr/>
        </p:nvCxnSpPr>
        <p:spPr bwMode="auto">
          <a:xfrm rot="5400000" flipH="1" flipV="1">
            <a:off x="5364163" y="2255838"/>
            <a:ext cx="12700" cy="1778000"/>
          </a:xfrm>
          <a:prstGeom prst="curvedConnector3">
            <a:avLst>
              <a:gd name="adj1" fmla="val 3128542"/>
            </a:avLst>
          </a:prstGeom>
          <a:noFill/>
          <a:ln w="38100" algn="ctr">
            <a:solidFill>
              <a:srgbClr val="FF0000"/>
            </a:solidFill>
            <a:round/>
            <a:headEnd/>
            <a:tailEnd type="triangle" w="med" len="med"/>
          </a:ln>
        </p:spPr>
      </p:cxnSp>
      <p:cxnSp>
        <p:nvCxnSpPr>
          <p:cNvPr id="118791" name="Gekrümmte Verbindung 34"/>
          <p:cNvCxnSpPr>
            <a:cxnSpLocks noChangeShapeType="1"/>
            <a:stCxn id="25" idx="3"/>
            <a:endCxn id="22" idx="5"/>
          </p:cNvCxnSpPr>
          <p:nvPr/>
        </p:nvCxnSpPr>
        <p:spPr bwMode="auto">
          <a:xfrm rot="5400000">
            <a:off x="5364163" y="3070225"/>
            <a:ext cx="12700" cy="1778000"/>
          </a:xfrm>
          <a:prstGeom prst="curvedConnector3">
            <a:avLst>
              <a:gd name="adj1" fmla="val 3128542"/>
            </a:avLst>
          </a:prstGeom>
          <a:noFill/>
          <a:ln w="38100" algn="ctr">
            <a:solidFill>
              <a:srgbClr val="C00000"/>
            </a:solidFill>
            <a:round/>
            <a:headEnd/>
            <a:tailEnd type="triangle" w="med" len="med"/>
          </a:ln>
        </p:spPr>
      </p:cxnSp>
      <p:cxnSp>
        <p:nvCxnSpPr>
          <p:cNvPr id="38" name="Gekrümmte Verbindung 37"/>
          <p:cNvCxnSpPr>
            <a:stCxn id="25" idx="4"/>
            <a:endCxn id="22" idx="4"/>
          </p:cNvCxnSpPr>
          <p:nvPr/>
        </p:nvCxnSpPr>
        <p:spPr bwMode="auto">
          <a:xfrm rot="5400000">
            <a:off x="5364088" y="2831905"/>
            <a:ext cx="12700" cy="2592288"/>
          </a:xfrm>
          <a:prstGeom prst="curvedConnector3">
            <a:avLst>
              <a:gd name="adj1" fmla="val 6784616"/>
            </a:avLst>
          </a:prstGeom>
          <a:solidFill>
            <a:schemeClr val="bg1"/>
          </a:solidFill>
          <a:ln w="50800" cap="flat" cmpd="sng" algn="ctr">
            <a:gradFill flip="none" rotWithShape="1">
              <a:gsLst>
                <a:gs pos="0">
                  <a:srgbClr val="FFFF00"/>
                </a:gs>
                <a:gs pos="51000">
                  <a:schemeClr val="accent6">
                    <a:lumMod val="25000"/>
                  </a:schemeClr>
                </a:gs>
                <a:gs pos="0">
                  <a:srgbClr val="FFFF00"/>
                </a:gs>
              </a:gsLst>
              <a:lin ang="5400000" scaled="1"/>
              <a:tileRect/>
            </a:gradFill>
            <a:prstDash val="solid"/>
            <a:round/>
            <a:headEnd type="none" w="med" len="med"/>
            <a:tailEnd type="triangle" w="med" len="med"/>
          </a:ln>
          <a:effectLst/>
          <a:extLst/>
        </p:spPr>
      </p:cxnSp>
      <p:sp>
        <p:nvSpPr>
          <p:cNvPr id="118793" name="Textfeld 42"/>
          <p:cNvSpPr txBox="1">
            <a:spLocks noChangeArrowheads="1"/>
          </p:cNvSpPr>
          <p:nvPr/>
        </p:nvSpPr>
        <p:spPr bwMode="auto">
          <a:xfrm>
            <a:off x="4767263" y="2832100"/>
            <a:ext cx="1244600" cy="341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600"/>
              <a:t>Красный (660 нм)</a:t>
            </a:r>
          </a:p>
        </p:txBody>
      </p:sp>
      <p:sp>
        <p:nvSpPr>
          <p:cNvPr id="118794" name="Textfeld 43"/>
          <p:cNvSpPr txBox="1">
            <a:spLocks noChangeArrowheads="1"/>
          </p:cNvSpPr>
          <p:nvPr/>
        </p:nvSpPr>
        <p:spPr bwMode="auto">
          <a:xfrm>
            <a:off x="4584700" y="3911600"/>
            <a:ext cx="1609725" cy="363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600"/>
              <a:t>Дальний красный (730 нм)</a:t>
            </a:r>
          </a:p>
        </p:txBody>
      </p:sp>
      <p:cxnSp>
        <p:nvCxnSpPr>
          <p:cNvPr id="46" name="Gekrümmte Verbindung 45"/>
          <p:cNvCxnSpPr>
            <a:stCxn id="25" idx="0"/>
          </p:cNvCxnSpPr>
          <p:nvPr/>
        </p:nvCxnSpPr>
        <p:spPr bwMode="auto">
          <a:xfrm rot="5400000" flipH="1" flipV="1">
            <a:off x="6911975" y="2147888"/>
            <a:ext cx="576263" cy="1081087"/>
          </a:xfrm>
          <a:prstGeom prst="curvedConnector2">
            <a:avLst/>
          </a:prstGeom>
          <a:solidFill>
            <a:schemeClr val="bg1"/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/>
          </a:ln>
          <a:effectLst/>
          <a:extLst/>
        </p:spPr>
      </p:cxnSp>
      <p:cxnSp>
        <p:nvCxnSpPr>
          <p:cNvPr id="47" name="Gekrümmte Verbindung 46"/>
          <p:cNvCxnSpPr>
            <a:stCxn id="25" idx="7"/>
          </p:cNvCxnSpPr>
          <p:nvPr/>
        </p:nvCxnSpPr>
        <p:spPr bwMode="auto">
          <a:xfrm rot="5400000" flipH="1" flipV="1">
            <a:off x="7427912" y="2616201"/>
            <a:ext cx="168275" cy="889000"/>
          </a:xfrm>
          <a:prstGeom prst="curvedConnector4">
            <a:avLst>
              <a:gd name="adj1" fmla="val 135487"/>
              <a:gd name="adj2" fmla="val 59492"/>
            </a:avLst>
          </a:prstGeom>
          <a:solidFill>
            <a:schemeClr val="bg1"/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/>
          </a:ln>
          <a:effectLst/>
          <a:extLst/>
        </p:spPr>
      </p:cxnSp>
      <p:cxnSp>
        <p:nvCxnSpPr>
          <p:cNvPr id="50" name="Gekrümmte Verbindung 49"/>
          <p:cNvCxnSpPr>
            <a:stCxn id="25" idx="6"/>
          </p:cNvCxnSpPr>
          <p:nvPr/>
        </p:nvCxnSpPr>
        <p:spPr bwMode="auto">
          <a:xfrm flipV="1">
            <a:off x="7235825" y="3408363"/>
            <a:ext cx="792163" cy="142875"/>
          </a:xfrm>
          <a:prstGeom prst="curvedConnector3">
            <a:avLst>
              <a:gd name="adj1" fmla="val 50000"/>
            </a:avLst>
          </a:prstGeom>
          <a:solidFill>
            <a:schemeClr val="bg1"/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/>
          </a:ln>
          <a:effectLst/>
          <a:extLst/>
        </p:spPr>
      </p:cxnSp>
      <p:cxnSp>
        <p:nvCxnSpPr>
          <p:cNvPr id="53" name="Gekrümmte Verbindung 52"/>
          <p:cNvCxnSpPr>
            <a:stCxn id="25" idx="5"/>
          </p:cNvCxnSpPr>
          <p:nvPr/>
        </p:nvCxnSpPr>
        <p:spPr bwMode="auto">
          <a:xfrm rot="16200000" flipH="1">
            <a:off x="7463631" y="3563144"/>
            <a:ext cx="96838" cy="889000"/>
          </a:xfrm>
          <a:prstGeom prst="curvedConnector4">
            <a:avLst>
              <a:gd name="adj1" fmla="val 236360"/>
              <a:gd name="adj2" fmla="val 59492"/>
            </a:avLst>
          </a:prstGeom>
          <a:solidFill>
            <a:schemeClr val="bg1"/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/>
          </a:ln>
          <a:effectLst/>
          <a:extLst/>
        </p:spPr>
      </p:cxnSp>
      <p:sp>
        <p:nvSpPr>
          <p:cNvPr id="118799" name="Textfeld 59"/>
          <p:cNvSpPr txBox="1">
            <a:spLocks noChangeArrowheads="1"/>
          </p:cNvSpPr>
          <p:nvPr/>
        </p:nvSpPr>
        <p:spPr bwMode="auto">
          <a:xfrm>
            <a:off x="7280275" y="2868613"/>
            <a:ext cx="1539875" cy="1277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400"/>
              <a:t>Передача</a:t>
            </a:r>
          </a:p>
          <a:p>
            <a:pPr>
              <a:lnSpc>
                <a:spcPct val="110000"/>
              </a:lnSpc>
            </a:pPr>
            <a:r>
              <a:rPr lang="en-US" sz="1400"/>
              <a:t>сигнала</a:t>
            </a:r>
          </a:p>
          <a:p>
            <a:pPr>
              <a:lnSpc>
                <a:spcPct val="110000"/>
              </a:lnSpc>
              <a:buFont typeface="Arial" charset="0"/>
              <a:buChar char="•"/>
            </a:pPr>
            <a:r>
              <a:rPr lang="ru-RU"/>
              <a:t> </a:t>
            </a:r>
            <a:r>
              <a:rPr lang="en-US" sz="1400" b="1"/>
              <a:t>Цветение</a:t>
            </a:r>
          </a:p>
          <a:p>
            <a:pPr>
              <a:lnSpc>
                <a:spcPct val="110000"/>
              </a:lnSpc>
              <a:buFont typeface="Arial" charset="0"/>
              <a:buChar char="•"/>
            </a:pPr>
            <a:r>
              <a:rPr lang="en-US" sz="1400"/>
              <a:t> Прорастание</a:t>
            </a:r>
          </a:p>
          <a:p>
            <a:pPr>
              <a:lnSpc>
                <a:spcPct val="110000"/>
              </a:lnSpc>
              <a:buFont typeface="Arial" charset="0"/>
              <a:buChar char="•"/>
            </a:pPr>
            <a:r>
              <a:rPr lang="en-US" sz="1400"/>
              <a:t>Удлинение стебля</a:t>
            </a:r>
          </a:p>
        </p:txBody>
      </p:sp>
      <p:sp>
        <p:nvSpPr>
          <p:cNvPr id="118800" name="Textfeld 60"/>
          <p:cNvSpPr txBox="1">
            <a:spLocks noChangeArrowheads="1"/>
          </p:cNvSpPr>
          <p:nvPr/>
        </p:nvSpPr>
        <p:spPr bwMode="auto">
          <a:xfrm>
            <a:off x="3348038" y="4941888"/>
            <a:ext cx="4799012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600"/>
              <a:t>Естественное превращение в сумеречном свете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539750" y="6021388"/>
            <a:ext cx="852488" cy="26193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000" b="1" kern="0" dirty="0"/>
              <a:t>Источник: [0]</a:t>
            </a:r>
          </a:p>
        </p:txBody>
      </p:sp>
      <p:pic>
        <p:nvPicPr>
          <p:cNvPr id="20" name="Рисунок 19">
            <a:hlinkClick r:id="rId2"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453336"/>
            <a:ext cx="2526984" cy="298413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Flussdiagramm: Daten 135"/>
          <p:cNvSpPr/>
          <p:nvPr/>
        </p:nvSpPr>
        <p:spPr bwMode="auto">
          <a:xfrm>
            <a:off x="611188" y="5084763"/>
            <a:ext cx="3673475" cy="504825"/>
          </a:xfrm>
          <a:prstGeom prst="flowChartInputOutput">
            <a:avLst/>
          </a:prstGeom>
          <a:solidFill>
            <a:srgbClr val="EB8044"/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90000" tIns="46800" rIns="90000" bIns="46800" anchor="ctr"/>
          <a:lstStyle/>
          <a:p>
            <a:pPr algn="ctr">
              <a:lnSpc>
                <a:spcPct val="110000"/>
              </a:lnSpc>
              <a:defRPr/>
            </a:pPr>
            <a:endParaRPr lang="en-US" sz="1600"/>
          </a:p>
        </p:txBody>
      </p:sp>
      <p:sp>
        <p:nvSpPr>
          <p:cNvPr id="31" name="Flussdiagramm: Daten 30"/>
          <p:cNvSpPr/>
          <p:nvPr/>
        </p:nvSpPr>
        <p:spPr bwMode="auto">
          <a:xfrm>
            <a:off x="4932363" y="5084763"/>
            <a:ext cx="3671887" cy="504825"/>
          </a:xfrm>
          <a:prstGeom prst="flowChartInputOutput">
            <a:avLst/>
          </a:prstGeom>
          <a:solidFill>
            <a:srgbClr val="EB8044"/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90000" tIns="46800" rIns="90000" bIns="46800" anchor="ctr"/>
          <a:lstStyle/>
          <a:p>
            <a:pPr algn="ctr">
              <a:lnSpc>
                <a:spcPct val="110000"/>
              </a:lnSpc>
              <a:defRPr/>
            </a:pPr>
            <a:endParaRPr lang="en-US" sz="1600"/>
          </a:p>
        </p:txBody>
      </p:sp>
      <p:sp>
        <p:nvSpPr>
          <p:cNvPr id="119811" name="Titel 1"/>
          <p:cNvSpPr>
            <a:spLocks noGrp="1"/>
          </p:cNvSpPr>
          <p:nvPr>
            <p:ph type="title"/>
          </p:nvPr>
        </p:nvSpPr>
        <p:spPr>
          <a:xfrm>
            <a:off x="539750" y="404813"/>
            <a:ext cx="8064500" cy="814387"/>
          </a:xfrm>
        </p:spPr>
        <p:txBody>
          <a:bodyPr/>
          <a:lstStyle/>
          <a:p>
            <a:r>
              <a:rPr lang="ru-RU" smtClean="0"/>
              <a:t>Управление цветением путем влияния на критическую продолжительность светового дня с помощью любого света</a:t>
            </a:r>
          </a:p>
        </p:txBody>
      </p:sp>
      <p:sp>
        <p:nvSpPr>
          <p:cNvPr id="119812" name="Inhaltsplatzhalter 2"/>
          <p:cNvSpPr>
            <a:spLocks noGrp="1"/>
          </p:cNvSpPr>
          <p:nvPr>
            <p:ph idx="1"/>
          </p:nvPr>
        </p:nvSpPr>
        <p:spPr>
          <a:xfrm>
            <a:off x="539750" y="1268413"/>
            <a:ext cx="8064500" cy="847725"/>
          </a:xfrm>
        </p:spPr>
        <p:txBody>
          <a:bodyPr/>
          <a:lstStyle/>
          <a:p>
            <a:pPr marL="0" indent="0"/>
            <a:r>
              <a:rPr lang="ru-RU" sz="1600" smtClean="0"/>
              <a:t>Так как соотношение количества фитохромов Pr и Pfr влияет на цветение, можно регулировать сроки цветения в соответствии с климатическими или сезонными требованиями. </a:t>
            </a:r>
          </a:p>
          <a:p>
            <a:pPr marL="0" indent="0"/>
            <a:endParaRPr lang="ru-RU" sz="1600" smtClean="0"/>
          </a:p>
          <a:p>
            <a:pPr marL="0" indent="0"/>
            <a:endParaRPr lang="ru-RU" smtClean="0"/>
          </a:p>
        </p:txBody>
      </p:sp>
      <p:grpSp>
        <p:nvGrpSpPr>
          <p:cNvPr id="119813" name="Gruppieren 21"/>
          <p:cNvGrpSpPr>
            <a:grpSpLocks/>
          </p:cNvGrpSpPr>
          <p:nvPr/>
        </p:nvGrpSpPr>
        <p:grpSpPr bwMode="auto">
          <a:xfrm>
            <a:off x="755650" y="4005263"/>
            <a:ext cx="1144588" cy="1285875"/>
            <a:chOff x="1403648" y="3258716"/>
            <a:chExt cx="2168153" cy="2346895"/>
          </a:xfrm>
        </p:grpSpPr>
        <p:sp>
          <p:nvSpPr>
            <p:cNvPr id="119877" name="Freihandform 11"/>
            <p:cNvSpPr>
              <a:spLocks/>
            </p:cNvSpPr>
            <p:nvPr/>
          </p:nvSpPr>
          <p:spPr bwMode="auto">
            <a:xfrm>
              <a:off x="2347665" y="3573016"/>
              <a:ext cx="511969" cy="2032595"/>
            </a:xfrm>
            <a:custGeom>
              <a:avLst/>
              <a:gdLst>
                <a:gd name="T0" fmla="*/ 486871 w 161925"/>
                <a:gd name="T1" fmla="*/ 0 h 1209675"/>
                <a:gd name="T2" fmla="*/ 5018 w 161925"/>
                <a:gd name="T3" fmla="*/ 912267 h 1209675"/>
                <a:gd name="T4" fmla="*/ 456755 w 161925"/>
                <a:gd name="T5" fmla="*/ 1440421 h 1209675"/>
                <a:gd name="T6" fmla="*/ 336292 w 161925"/>
                <a:gd name="T7" fmla="*/ 2032595 h 120967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1925" h="1209675">
                  <a:moveTo>
                    <a:pt x="153987" y="0"/>
                  </a:moveTo>
                  <a:cubicBezTo>
                    <a:pt x="78580" y="200025"/>
                    <a:pt x="3174" y="400050"/>
                    <a:pt x="1587" y="542925"/>
                  </a:cubicBezTo>
                  <a:cubicBezTo>
                    <a:pt x="0" y="685800"/>
                    <a:pt x="127000" y="746125"/>
                    <a:pt x="144462" y="857250"/>
                  </a:cubicBezTo>
                  <a:cubicBezTo>
                    <a:pt x="161925" y="968375"/>
                    <a:pt x="134143" y="1089025"/>
                    <a:pt x="106362" y="1209675"/>
                  </a:cubicBezTo>
                </a:path>
              </a:pathLst>
            </a:custGeom>
            <a:noFill/>
            <a:ln w="76200" cap="flat" cmpd="sng" algn="ctr">
              <a:solidFill>
                <a:srgbClr val="008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anchor="ctr"/>
            <a:lstStyle/>
            <a:p>
              <a:endParaRPr lang="ru-RU"/>
            </a:p>
          </p:txBody>
        </p:sp>
        <p:sp>
          <p:nvSpPr>
            <p:cNvPr id="10" name="plant"/>
            <p:cNvSpPr>
              <a:spLocks noEditPoints="1" noChangeArrowheads="1"/>
            </p:cNvSpPr>
            <p:nvPr/>
          </p:nvSpPr>
          <p:spPr bwMode="auto">
            <a:xfrm>
              <a:off x="1403648" y="3258716"/>
              <a:ext cx="2168153" cy="1321215"/>
            </a:xfrm>
            <a:custGeom>
              <a:avLst/>
              <a:gdLst>
                <a:gd name="T0" fmla="*/ 0 w 21600"/>
                <a:gd name="T1" fmla="*/ 0 h 21600"/>
                <a:gd name="T2" fmla="*/ 10800 w 21600"/>
                <a:gd name="T3" fmla="*/ 0 h 21600"/>
                <a:gd name="T4" fmla="*/ 21600 w 21600"/>
                <a:gd name="T5" fmla="*/ 0 h 21600"/>
                <a:gd name="T6" fmla="*/ 21600 w 21600"/>
                <a:gd name="T7" fmla="*/ 10800 h 21600"/>
                <a:gd name="T8" fmla="*/ 21600 w 21600"/>
                <a:gd name="T9" fmla="*/ 21600 h 21600"/>
                <a:gd name="T10" fmla="*/ 10800 w 21600"/>
                <a:gd name="T11" fmla="*/ 21600 h 21600"/>
                <a:gd name="T12" fmla="*/ 0 w 21600"/>
                <a:gd name="T13" fmla="*/ 21600 h 21600"/>
                <a:gd name="T14" fmla="*/ 0 w 21600"/>
                <a:gd name="T15" fmla="*/ 10800 h 21600"/>
                <a:gd name="T16" fmla="*/ 7100 w 21600"/>
                <a:gd name="T17" fmla="*/ 10092 h 21600"/>
                <a:gd name="T18" fmla="*/ 14545 w 21600"/>
                <a:gd name="T19" fmla="*/ 13573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9368" y="9002"/>
                  </a:moveTo>
                  <a:lnTo>
                    <a:pt x="9254" y="8422"/>
                  </a:lnTo>
                  <a:lnTo>
                    <a:pt x="9139" y="7935"/>
                  </a:lnTo>
                  <a:lnTo>
                    <a:pt x="8819" y="7355"/>
                  </a:lnTo>
                  <a:lnTo>
                    <a:pt x="8475" y="6728"/>
                  </a:lnTo>
                  <a:lnTo>
                    <a:pt x="8040" y="6287"/>
                  </a:lnTo>
                  <a:lnTo>
                    <a:pt x="7421" y="5707"/>
                  </a:lnTo>
                  <a:lnTo>
                    <a:pt x="6574" y="5429"/>
                  </a:lnTo>
                  <a:lnTo>
                    <a:pt x="5452" y="5313"/>
                  </a:lnTo>
                  <a:lnTo>
                    <a:pt x="4856" y="5220"/>
                  </a:lnTo>
                  <a:lnTo>
                    <a:pt x="4169" y="5220"/>
                  </a:lnTo>
                  <a:lnTo>
                    <a:pt x="3665" y="5104"/>
                  </a:lnTo>
                  <a:lnTo>
                    <a:pt x="3001" y="4872"/>
                  </a:lnTo>
                  <a:lnTo>
                    <a:pt x="2497" y="4756"/>
                  </a:lnTo>
                  <a:lnTo>
                    <a:pt x="2062" y="4408"/>
                  </a:lnTo>
                  <a:lnTo>
                    <a:pt x="1603" y="4083"/>
                  </a:lnTo>
                  <a:lnTo>
                    <a:pt x="1283" y="3689"/>
                  </a:lnTo>
                  <a:lnTo>
                    <a:pt x="1283" y="4315"/>
                  </a:lnTo>
                  <a:lnTo>
                    <a:pt x="1489" y="5104"/>
                  </a:lnTo>
                  <a:lnTo>
                    <a:pt x="1832" y="6055"/>
                  </a:lnTo>
                  <a:lnTo>
                    <a:pt x="2382" y="6914"/>
                  </a:lnTo>
                  <a:lnTo>
                    <a:pt x="2680" y="7471"/>
                  </a:lnTo>
                  <a:lnTo>
                    <a:pt x="3115" y="7935"/>
                  </a:lnTo>
                  <a:lnTo>
                    <a:pt x="3573" y="8213"/>
                  </a:lnTo>
                  <a:lnTo>
                    <a:pt x="4077" y="8654"/>
                  </a:lnTo>
                  <a:lnTo>
                    <a:pt x="4627" y="9002"/>
                  </a:lnTo>
                  <a:lnTo>
                    <a:pt x="5245" y="9234"/>
                  </a:lnTo>
                  <a:lnTo>
                    <a:pt x="6024" y="9443"/>
                  </a:lnTo>
                  <a:lnTo>
                    <a:pt x="6757" y="9628"/>
                  </a:lnTo>
                  <a:lnTo>
                    <a:pt x="5177" y="10069"/>
                  </a:lnTo>
                  <a:lnTo>
                    <a:pt x="3963" y="10649"/>
                  </a:lnTo>
                  <a:lnTo>
                    <a:pt x="3344" y="11044"/>
                  </a:lnTo>
                  <a:lnTo>
                    <a:pt x="2886" y="11600"/>
                  </a:lnTo>
                  <a:lnTo>
                    <a:pt x="2497" y="12041"/>
                  </a:lnTo>
                  <a:lnTo>
                    <a:pt x="1947" y="12343"/>
                  </a:lnTo>
                  <a:lnTo>
                    <a:pt x="1168" y="12668"/>
                  </a:lnTo>
                  <a:lnTo>
                    <a:pt x="0" y="12900"/>
                  </a:lnTo>
                  <a:lnTo>
                    <a:pt x="435" y="13248"/>
                  </a:lnTo>
                  <a:lnTo>
                    <a:pt x="779" y="13456"/>
                  </a:lnTo>
                  <a:lnTo>
                    <a:pt x="1283" y="13642"/>
                  </a:lnTo>
                  <a:lnTo>
                    <a:pt x="1718" y="13758"/>
                  </a:lnTo>
                  <a:lnTo>
                    <a:pt x="2680" y="13851"/>
                  </a:lnTo>
                  <a:lnTo>
                    <a:pt x="3573" y="13758"/>
                  </a:lnTo>
                  <a:lnTo>
                    <a:pt x="4512" y="13526"/>
                  </a:lnTo>
                  <a:lnTo>
                    <a:pt x="5360" y="13248"/>
                  </a:lnTo>
                  <a:lnTo>
                    <a:pt x="6139" y="12900"/>
                  </a:lnTo>
                  <a:lnTo>
                    <a:pt x="6757" y="12552"/>
                  </a:lnTo>
                  <a:lnTo>
                    <a:pt x="6459" y="13132"/>
                  </a:lnTo>
                  <a:lnTo>
                    <a:pt x="6139" y="13642"/>
                  </a:lnTo>
                  <a:lnTo>
                    <a:pt x="5910" y="14199"/>
                  </a:lnTo>
                  <a:lnTo>
                    <a:pt x="5681" y="14663"/>
                  </a:lnTo>
                  <a:lnTo>
                    <a:pt x="5681" y="15150"/>
                  </a:lnTo>
                  <a:lnTo>
                    <a:pt x="5681" y="15730"/>
                  </a:lnTo>
                  <a:lnTo>
                    <a:pt x="5681" y="16241"/>
                  </a:lnTo>
                  <a:lnTo>
                    <a:pt x="5795" y="16913"/>
                  </a:lnTo>
                  <a:lnTo>
                    <a:pt x="5910" y="17586"/>
                  </a:lnTo>
                  <a:lnTo>
                    <a:pt x="5910" y="18213"/>
                  </a:lnTo>
                  <a:lnTo>
                    <a:pt x="5795" y="18885"/>
                  </a:lnTo>
                  <a:lnTo>
                    <a:pt x="5566" y="19396"/>
                  </a:lnTo>
                  <a:lnTo>
                    <a:pt x="5245" y="19976"/>
                  </a:lnTo>
                  <a:lnTo>
                    <a:pt x="4971" y="20370"/>
                  </a:lnTo>
                  <a:lnTo>
                    <a:pt x="4512" y="20811"/>
                  </a:lnTo>
                  <a:lnTo>
                    <a:pt x="4077" y="21043"/>
                  </a:lnTo>
                  <a:lnTo>
                    <a:pt x="5177" y="20927"/>
                  </a:lnTo>
                  <a:lnTo>
                    <a:pt x="6253" y="20486"/>
                  </a:lnTo>
                  <a:lnTo>
                    <a:pt x="7421" y="19976"/>
                  </a:lnTo>
                  <a:lnTo>
                    <a:pt x="8361" y="19187"/>
                  </a:lnTo>
                  <a:lnTo>
                    <a:pt x="8819" y="18769"/>
                  </a:lnTo>
                  <a:lnTo>
                    <a:pt x="9139" y="18213"/>
                  </a:lnTo>
                  <a:lnTo>
                    <a:pt x="9437" y="17772"/>
                  </a:lnTo>
                  <a:lnTo>
                    <a:pt x="9643" y="17261"/>
                  </a:lnTo>
                  <a:lnTo>
                    <a:pt x="9872" y="16681"/>
                  </a:lnTo>
                  <a:lnTo>
                    <a:pt x="9872" y="16171"/>
                  </a:lnTo>
                  <a:lnTo>
                    <a:pt x="9872" y="15614"/>
                  </a:lnTo>
                  <a:lnTo>
                    <a:pt x="9758" y="15057"/>
                  </a:lnTo>
                  <a:lnTo>
                    <a:pt x="10216" y="15498"/>
                  </a:lnTo>
                  <a:lnTo>
                    <a:pt x="10537" y="16241"/>
                  </a:lnTo>
                  <a:lnTo>
                    <a:pt x="10834" y="17145"/>
                  </a:lnTo>
                  <a:lnTo>
                    <a:pt x="11041" y="18213"/>
                  </a:lnTo>
                  <a:lnTo>
                    <a:pt x="11155" y="19187"/>
                  </a:lnTo>
                  <a:lnTo>
                    <a:pt x="11155" y="20185"/>
                  </a:lnTo>
                  <a:lnTo>
                    <a:pt x="11155" y="20579"/>
                  </a:lnTo>
                  <a:lnTo>
                    <a:pt x="11041" y="21043"/>
                  </a:lnTo>
                  <a:lnTo>
                    <a:pt x="10926" y="21391"/>
                  </a:lnTo>
                  <a:lnTo>
                    <a:pt x="10766" y="21600"/>
                  </a:lnTo>
                  <a:lnTo>
                    <a:pt x="11499" y="21484"/>
                  </a:lnTo>
                  <a:lnTo>
                    <a:pt x="12323" y="21043"/>
                  </a:lnTo>
                  <a:lnTo>
                    <a:pt x="13102" y="20370"/>
                  </a:lnTo>
                  <a:lnTo>
                    <a:pt x="13606" y="19628"/>
                  </a:lnTo>
                  <a:lnTo>
                    <a:pt x="13950" y="19071"/>
                  </a:lnTo>
                  <a:lnTo>
                    <a:pt x="14064" y="18677"/>
                  </a:lnTo>
                  <a:lnTo>
                    <a:pt x="14179" y="18097"/>
                  </a:lnTo>
                  <a:lnTo>
                    <a:pt x="14293" y="17586"/>
                  </a:lnTo>
                  <a:lnTo>
                    <a:pt x="14179" y="16913"/>
                  </a:lnTo>
                  <a:lnTo>
                    <a:pt x="14064" y="16241"/>
                  </a:lnTo>
                  <a:lnTo>
                    <a:pt x="13835" y="15614"/>
                  </a:lnTo>
                  <a:lnTo>
                    <a:pt x="13560" y="14872"/>
                  </a:lnTo>
                  <a:lnTo>
                    <a:pt x="13950" y="14941"/>
                  </a:lnTo>
                  <a:lnTo>
                    <a:pt x="14408" y="15150"/>
                  </a:lnTo>
                  <a:lnTo>
                    <a:pt x="14843" y="15266"/>
                  </a:lnTo>
                  <a:lnTo>
                    <a:pt x="15232" y="15614"/>
                  </a:lnTo>
                  <a:lnTo>
                    <a:pt x="15576" y="15846"/>
                  </a:lnTo>
                  <a:lnTo>
                    <a:pt x="15897" y="16171"/>
                  </a:lnTo>
                  <a:lnTo>
                    <a:pt x="16126" y="16473"/>
                  </a:lnTo>
                  <a:lnTo>
                    <a:pt x="16240" y="16913"/>
                  </a:lnTo>
                  <a:lnTo>
                    <a:pt x="16515" y="17261"/>
                  </a:lnTo>
                  <a:lnTo>
                    <a:pt x="17088" y="17586"/>
                  </a:lnTo>
                  <a:lnTo>
                    <a:pt x="17798" y="17865"/>
                  </a:lnTo>
                  <a:lnTo>
                    <a:pt x="18576" y="18097"/>
                  </a:lnTo>
                  <a:lnTo>
                    <a:pt x="19424" y="18213"/>
                  </a:lnTo>
                  <a:lnTo>
                    <a:pt x="20317" y="18213"/>
                  </a:lnTo>
                  <a:lnTo>
                    <a:pt x="21050" y="18213"/>
                  </a:lnTo>
                  <a:lnTo>
                    <a:pt x="21600" y="17865"/>
                  </a:lnTo>
                  <a:lnTo>
                    <a:pt x="21165" y="17656"/>
                  </a:lnTo>
                  <a:lnTo>
                    <a:pt x="20592" y="17470"/>
                  </a:lnTo>
                  <a:lnTo>
                    <a:pt x="20088" y="17029"/>
                  </a:lnTo>
                  <a:lnTo>
                    <a:pt x="19653" y="16681"/>
                  </a:lnTo>
                  <a:lnTo>
                    <a:pt x="19195" y="16241"/>
                  </a:lnTo>
                  <a:lnTo>
                    <a:pt x="18920" y="15962"/>
                  </a:lnTo>
                  <a:lnTo>
                    <a:pt x="18576" y="15498"/>
                  </a:lnTo>
                  <a:lnTo>
                    <a:pt x="18576" y="15057"/>
                  </a:lnTo>
                  <a:lnTo>
                    <a:pt x="18485" y="14756"/>
                  </a:lnTo>
                  <a:lnTo>
                    <a:pt x="18256" y="14199"/>
                  </a:lnTo>
                  <a:lnTo>
                    <a:pt x="17912" y="13526"/>
                  </a:lnTo>
                  <a:lnTo>
                    <a:pt x="17523" y="13016"/>
                  </a:lnTo>
                  <a:lnTo>
                    <a:pt x="16973" y="12436"/>
                  </a:lnTo>
                  <a:lnTo>
                    <a:pt x="16355" y="12041"/>
                  </a:lnTo>
                  <a:lnTo>
                    <a:pt x="16011" y="11832"/>
                  </a:lnTo>
                  <a:lnTo>
                    <a:pt x="15690" y="11716"/>
                  </a:lnTo>
                  <a:lnTo>
                    <a:pt x="15232" y="11716"/>
                  </a:lnTo>
                  <a:lnTo>
                    <a:pt x="14843" y="11716"/>
                  </a:lnTo>
                  <a:lnTo>
                    <a:pt x="15461" y="11252"/>
                  </a:lnTo>
                  <a:lnTo>
                    <a:pt x="16126" y="10858"/>
                  </a:lnTo>
                  <a:lnTo>
                    <a:pt x="16973" y="10649"/>
                  </a:lnTo>
                  <a:lnTo>
                    <a:pt x="17798" y="10417"/>
                  </a:lnTo>
                  <a:lnTo>
                    <a:pt x="18806" y="10301"/>
                  </a:lnTo>
                  <a:lnTo>
                    <a:pt x="19653" y="10301"/>
                  </a:lnTo>
                  <a:lnTo>
                    <a:pt x="20478" y="10417"/>
                  </a:lnTo>
                  <a:lnTo>
                    <a:pt x="21256" y="10533"/>
                  </a:lnTo>
                  <a:lnTo>
                    <a:pt x="20707" y="9837"/>
                  </a:lnTo>
                  <a:lnTo>
                    <a:pt x="19859" y="9234"/>
                  </a:lnTo>
                  <a:lnTo>
                    <a:pt x="18806" y="8538"/>
                  </a:lnTo>
                  <a:lnTo>
                    <a:pt x="17637" y="8144"/>
                  </a:lnTo>
                  <a:lnTo>
                    <a:pt x="16973" y="8027"/>
                  </a:lnTo>
                  <a:lnTo>
                    <a:pt x="16355" y="7935"/>
                  </a:lnTo>
                  <a:lnTo>
                    <a:pt x="15805" y="7935"/>
                  </a:lnTo>
                  <a:lnTo>
                    <a:pt x="15118" y="8027"/>
                  </a:lnTo>
                  <a:lnTo>
                    <a:pt x="14614" y="8144"/>
                  </a:lnTo>
                  <a:lnTo>
                    <a:pt x="14064" y="8422"/>
                  </a:lnTo>
                  <a:lnTo>
                    <a:pt x="13606" y="8886"/>
                  </a:lnTo>
                  <a:lnTo>
                    <a:pt x="13217" y="9327"/>
                  </a:lnTo>
                  <a:lnTo>
                    <a:pt x="13606" y="8538"/>
                  </a:lnTo>
                  <a:lnTo>
                    <a:pt x="13950" y="7935"/>
                  </a:lnTo>
                  <a:lnTo>
                    <a:pt x="14293" y="7123"/>
                  </a:lnTo>
                  <a:lnTo>
                    <a:pt x="14499" y="6519"/>
                  </a:lnTo>
                  <a:lnTo>
                    <a:pt x="14614" y="5823"/>
                  </a:lnTo>
                  <a:lnTo>
                    <a:pt x="14614" y="5220"/>
                  </a:lnTo>
                  <a:lnTo>
                    <a:pt x="14408" y="4524"/>
                  </a:lnTo>
                  <a:lnTo>
                    <a:pt x="14064" y="3898"/>
                  </a:lnTo>
                  <a:lnTo>
                    <a:pt x="13606" y="3225"/>
                  </a:lnTo>
                  <a:lnTo>
                    <a:pt x="13331" y="2598"/>
                  </a:lnTo>
                  <a:lnTo>
                    <a:pt x="13102" y="2042"/>
                  </a:lnTo>
                  <a:lnTo>
                    <a:pt x="12896" y="1485"/>
                  </a:lnTo>
                  <a:lnTo>
                    <a:pt x="12781" y="1090"/>
                  </a:lnTo>
                  <a:lnTo>
                    <a:pt x="12667" y="626"/>
                  </a:lnTo>
                  <a:lnTo>
                    <a:pt x="12667" y="278"/>
                  </a:lnTo>
                  <a:lnTo>
                    <a:pt x="12667" y="0"/>
                  </a:lnTo>
                  <a:lnTo>
                    <a:pt x="12163" y="394"/>
                  </a:lnTo>
                  <a:lnTo>
                    <a:pt x="11728" y="974"/>
                  </a:lnTo>
                  <a:lnTo>
                    <a:pt x="11155" y="1601"/>
                  </a:lnTo>
                  <a:lnTo>
                    <a:pt x="10766" y="2390"/>
                  </a:lnTo>
                  <a:lnTo>
                    <a:pt x="10330" y="3109"/>
                  </a:lnTo>
                  <a:lnTo>
                    <a:pt x="10101" y="3898"/>
                  </a:lnTo>
                  <a:lnTo>
                    <a:pt x="9987" y="4524"/>
                  </a:lnTo>
                  <a:lnTo>
                    <a:pt x="10101" y="5220"/>
                  </a:lnTo>
                  <a:lnTo>
                    <a:pt x="10216" y="5823"/>
                  </a:lnTo>
                  <a:lnTo>
                    <a:pt x="10330" y="6403"/>
                  </a:lnTo>
                  <a:lnTo>
                    <a:pt x="10330" y="6914"/>
                  </a:lnTo>
                  <a:lnTo>
                    <a:pt x="10216" y="7471"/>
                  </a:lnTo>
                  <a:lnTo>
                    <a:pt x="10101" y="7935"/>
                  </a:lnTo>
                  <a:lnTo>
                    <a:pt x="9872" y="8329"/>
                  </a:lnTo>
                  <a:lnTo>
                    <a:pt x="9643" y="8654"/>
                  </a:lnTo>
                  <a:lnTo>
                    <a:pt x="9368" y="9002"/>
                  </a:lnTo>
                  <a:close/>
                </a:path>
              </a:pathLst>
            </a:custGeom>
            <a:solidFill>
              <a:srgbClr val="0080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107763" dir="2700000" algn="ctr" rotWithShape="0">
                <a:srgbClr val="808080"/>
              </a:outerShdw>
            </a:effectLst>
          </p:spPr>
          <p:txBody>
            <a:bodyPr/>
            <a:lstStyle/>
            <a:p>
              <a:pPr algn="ctr">
                <a:defRPr/>
              </a:pPr>
              <a:endParaRPr lang="en-US"/>
            </a:p>
          </p:txBody>
        </p:sp>
      </p:grpSp>
      <p:grpSp>
        <p:nvGrpSpPr>
          <p:cNvPr id="119814" name="Gruppieren 24"/>
          <p:cNvGrpSpPr>
            <a:grpSpLocks/>
          </p:cNvGrpSpPr>
          <p:nvPr/>
        </p:nvGrpSpPr>
        <p:grpSpPr bwMode="auto">
          <a:xfrm>
            <a:off x="1835150" y="4005263"/>
            <a:ext cx="1144588" cy="1285875"/>
            <a:chOff x="1403648" y="3258716"/>
            <a:chExt cx="2168153" cy="2346895"/>
          </a:xfrm>
        </p:grpSpPr>
        <p:sp>
          <p:nvSpPr>
            <p:cNvPr id="119875" name="Freihandform 27"/>
            <p:cNvSpPr>
              <a:spLocks/>
            </p:cNvSpPr>
            <p:nvPr/>
          </p:nvSpPr>
          <p:spPr bwMode="auto">
            <a:xfrm>
              <a:off x="2347665" y="3573016"/>
              <a:ext cx="511969" cy="2032595"/>
            </a:xfrm>
            <a:custGeom>
              <a:avLst/>
              <a:gdLst>
                <a:gd name="T0" fmla="*/ 486871 w 161925"/>
                <a:gd name="T1" fmla="*/ 0 h 1209675"/>
                <a:gd name="T2" fmla="*/ 5018 w 161925"/>
                <a:gd name="T3" fmla="*/ 912267 h 1209675"/>
                <a:gd name="T4" fmla="*/ 456755 w 161925"/>
                <a:gd name="T5" fmla="*/ 1440421 h 1209675"/>
                <a:gd name="T6" fmla="*/ 336292 w 161925"/>
                <a:gd name="T7" fmla="*/ 2032595 h 120967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1925" h="1209675">
                  <a:moveTo>
                    <a:pt x="153987" y="0"/>
                  </a:moveTo>
                  <a:cubicBezTo>
                    <a:pt x="78580" y="200025"/>
                    <a:pt x="3174" y="400050"/>
                    <a:pt x="1587" y="542925"/>
                  </a:cubicBezTo>
                  <a:cubicBezTo>
                    <a:pt x="0" y="685800"/>
                    <a:pt x="127000" y="746125"/>
                    <a:pt x="144462" y="857250"/>
                  </a:cubicBezTo>
                  <a:cubicBezTo>
                    <a:pt x="161925" y="968375"/>
                    <a:pt x="134143" y="1089025"/>
                    <a:pt x="106362" y="1209675"/>
                  </a:cubicBezTo>
                </a:path>
              </a:pathLst>
            </a:custGeom>
            <a:noFill/>
            <a:ln w="76200" cap="flat" cmpd="sng" algn="ctr">
              <a:solidFill>
                <a:srgbClr val="008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anchor="ctr"/>
            <a:lstStyle/>
            <a:p>
              <a:endParaRPr lang="ru-RU"/>
            </a:p>
          </p:txBody>
        </p:sp>
        <p:sp>
          <p:nvSpPr>
            <p:cNvPr id="33" name="plant"/>
            <p:cNvSpPr>
              <a:spLocks noEditPoints="1" noChangeArrowheads="1"/>
            </p:cNvSpPr>
            <p:nvPr/>
          </p:nvSpPr>
          <p:spPr bwMode="auto">
            <a:xfrm>
              <a:off x="1403648" y="3258716"/>
              <a:ext cx="2168153" cy="1321215"/>
            </a:xfrm>
            <a:custGeom>
              <a:avLst/>
              <a:gdLst>
                <a:gd name="T0" fmla="*/ 0 w 21600"/>
                <a:gd name="T1" fmla="*/ 0 h 21600"/>
                <a:gd name="T2" fmla="*/ 10800 w 21600"/>
                <a:gd name="T3" fmla="*/ 0 h 21600"/>
                <a:gd name="T4" fmla="*/ 21600 w 21600"/>
                <a:gd name="T5" fmla="*/ 0 h 21600"/>
                <a:gd name="T6" fmla="*/ 21600 w 21600"/>
                <a:gd name="T7" fmla="*/ 10800 h 21600"/>
                <a:gd name="T8" fmla="*/ 21600 w 21600"/>
                <a:gd name="T9" fmla="*/ 21600 h 21600"/>
                <a:gd name="T10" fmla="*/ 10800 w 21600"/>
                <a:gd name="T11" fmla="*/ 21600 h 21600"/>
                <a:gd name="T12" fmla="*/ 0 w 21600"/>
                <a:gd name="T13" fmla="*/ 21600 h 21600"/>
                <a:gd name="T14" fmla="*/ 0 w 21600"/>
                <a:gd name="T15" fmla="*/ 10800 h 21600"/>
                <a:gd name="T16" fmla="*/ 7100 w 21600"/>
                <a:gd name="T17" fmla="*/ 10092 h 21600"/>
                <a:gd name="T18" fmla="*/ 14545 w 21600"/>
                <a:gd name="T19" fmla="*/ 13573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9368" y="9002"/>
                  </a:moveTo>
                  <a:lnTo>
                    <a:pt x="9254" y="8422"/>
                  </a:lnTo>
                  <a:lnTo>
                    <a:pt x="9139" y="7935"/>
                  </a:lnTo>
                  <a:lnTo>
                    <a:pt x="8819" y="7355"/>
                  </a:lnTo>
                  <a:lnTo>
                    <a:pt x="8475" y="6728"/>
                  </a:lnTo>
                  <a:lnTo>
                    <a:pt x="8040" y="6287"/>
                  </a:lnTo>
                  <a:lnTo>
                    <a:pt x="7421" y="5707"/>
                  </a:lnTo>
                  <a:lnTo>
                    <a:pt x="6574" y="5429"/>
                  </a:lnTo>
                  <a:lnTo>
                    <a:pt x="5452" y="5313"/>
                  </a:lnTo>
                  <a:lnTo>
                    <a:pt x="4856" y="5220"/>
                  </a:lnTo>
                  <a:lnTo>
                    <a:pt x="4169" y="5220"/>
                  </a:lnTo>
                  <a:lnTo>
                    <a:pt x="3665" y="5104"/>
                  </a:lnTo>
                  <a:lnTo>
                    <a:pt x="3001" y="4872"/>
                  </a:lnTo>
                  <a:lnTo>
                    <a:pt x="2497" y="4756"/>
                  </a:lnTo>
                  <a:lnTo>
                    <a:pt x="2062" y="4408"/>
                  </a:lnTo>
                  <a:lnTo>
                    <a:pt x="1603" y="4083"/>
                  </a:lnTo>
                  <a:lnTo>
                    <a:pt x="1283" y="3689"/>
                  </a:lnTo>
                  <a:lnTo>
                    <a:pt x="1283" y="4315"/>
                  </a:lnTo>
                  <a:lnTo>
                    <a:pt x="1489" y="5104"/>
                  </a:lnTo>
                  <a:lnTo>
                    <a:pt x="1832" y="6055"/>
                  </a:lnTo>
                  <a:lnTo>
                    <a:pt x="2382" y="6914"/>
                  </a:lnTo>
                  <a:lnTo>
                    <a:pt x="2680" y="7471"/>
                  </a:lnTo>
                  <a:lnTo>
                    <a:pt x="3115" y="7935"/>
                  </a:lnTo>
                  <a:lnTo>
                    <a:pt x="3573" y="8213"/>
                  </a:lnTo>
                  <a:lnTo>
                    <a:pt x="4077" y="8654"/>
                  </a:lnTo>
                  <a:lnTo>
                    <a:pt x="4627" y="9002"/>
                  </a:lnTo>
                  <a:lnTo>
                    <a:pt x="5245" y="9234"/>
                  </a:lnTo>
                  <a:lnTo>
                    <a:pt x="6024" y="9443"/>
                  </a:lnTo>
                  <a:lnTo>
                    <a:pt x="6757" y="9628"/>
                  </a:lnTo>
                  <a:lnTo>
                    <a:pt x="5177" y="10069"/>
                  </a:lnTo>
                  <a:lnTo>
                    <a:pt x="3963" y="10649"/>
                  </a:lnTo>
                  <a:lnTo>
                    <a:pt x="3344" y="11044"/>
                  </a:lnTo>
                  <a:lnTo>
                    <a:pt x="2886" y="11600"/>
                  </a:lnTo>
                  <a:lnTo>
                    <a:pt x="2497" y="12041"/>
                  </a:lnTo>
                  <a:lnTo>
                    <a:pt x="1947" y="12343"/>
                  </a:lnTo>
                  <a:lnTo>
                    <a:pt x="1168" y="12668"/>
                  </a:lnTo>
                  <a:lnTo>
                    <a:pt x="0" y="12900"/>
                  </a:lnTo>
                  <a:lnTo>
                    <a:pt x="435" y="13248"/>
                  </a:lnTo>
                  <a:lnTo>
                    <a:pt x="779" y="13456"/>
                  </a:lnTo>
                  <a:lnTo>
                    <a:pt x="1283" y="13642"/>
                  </a:lnTo>
                  <a:lnTo>
                    <a:pt x="1718" y="13758"/>
                  </a:lnTo>
                  <a:lnTo>
                    <a:pt x="2680" y="13851"/>
                  </a:lnTo>
                  <a:lnTo>
                    <a:pt x="3573" y="13758"/>
                  </a:lnTo>
                  <a:lnTo>
                    <a:pt x="4512" y="13526"/>
                  </a:lnTo>
                  <a:lnTo>
                    <a:pt x="5360" y="13248"/>
                  </a:lnTo>
                  <a:lnTo>
                    <a:pt x="6139" y="12900"/>
                  </a:lnTo>
                  <a:lnTo>
                    <a:pt x="6757" y="12552"/>
                  </a:lnTo>
                  <a:lnTo>
                    <a:pt x="6459" y="13132"/>
                  </a:lnTo>
                  <a:lnTo>
                    <a:pt x="6139" y="13642"/>
                  </a:lnTo>
                  <a:lnTo>
                    <a:pt x="5910" y="14199"/>
                  </a:lnTo>
                  <a:lnTo>
                    <a:pt x="5681" y="14663"/>
                  </a:lnTo>
                  <a:lnTo>
                    <a:pt x="5681" y="15150"/>
                  </a:lnTo>
                  <a:lnTo>
                    <a:pt x="5681" y="15730"/>
                  </a:lnTo>
                  <a:lnTo>
                    <a:pt x="5681" y="16241"/>
                  </a:lnTo>
                  <a:lnTo>
                    <a:pt x="5795" y="16913"/>
                  </a:lnTo>
                  <a:lnTo>
                    <a:pt x="5910" y="17586"/>
                  </a:lnTo>
                  <a:lnTo>
                    <a:pt x="5910" y="18213"/>
                  </a:lnTo>
                  <a:lnTo>
                    <a:pt x="5795" y="18885"/>
                  </a:lnTo>
                  <a:lnTo>
                    <a:pt x="5566" y="19396"/>
                  </a:lnTo>
                  <a:lnTo>
                    <a:pt x="5245" y="19976"/>
                  </a:lnTo>
                  <a:lnTo>
                    <a:pt x="4971" y="20370"/>
                  </a:lnTo>
                  <a:lnTo>
                    <a:pt x="4512" y="20811"/>
                  </a:lnTo>
                  <a:lnTo>
                    <a:pt x="4077" y="21043"/>
                  </a:lnTo>
                  <a:lnTo>
                    <a:pt x="5177" y="20927"/>
                  </a:lnTo>
                  <a:lnTo>
                    <a:pt x="6253" y="20486"/>
                  </a:lnTo>
                  <a:lnTo>
                    <a:pt x="7421" y="19976"/>
                  </a:lnTo>
                  <a:lnTo>
                    <a:pt x="8361" y="19187"/>
                  </a:lnTo>
                  <a:lnTo>
                    <a:pt x="8819" y="18769"/>
                  </a:lnTo>
                  <a:lnTo>
                    <a:pt x="9139" y="18213"/>
                  </a:lnTo>
                  <a:lnTo>
                    <a:pt x="9437" y="17772"/>
                  </a:lnTo>
                  <a:lnTo>
                    <a:pt x="9643" y="17261"/>
                  </a:lnTo>
                  <a:lnTo>
                    <a:pt x="9872" y="16681"/>
                  </a:lnTo>
                  <a:lnTo>
                    <a:pt x="9872" y="16171"/>
                  </a:lnTo>
                  <a:lnTo>
                    <a:pt x="9872" y="15614"/>
                  </a:lnTo>
                  <a:lnTo>
                    <a:pt x="9758" y="15057"/>
                  </a:lnTo>
                  <a:lnTo>
                    <a:pt x="10216" y="15498"/>
                  </a:lnTo>
                  <a:lnTo>
                    <a:pt x="10537" y="16241"/>
                  </a:lnTo>
                  <a:lnTo>
                    <a:pt x="10834" y="17145"/>
                  </a:lnTo>
                  <a:lnTo>
                    <a:pt x="11041" y="18213"/>
                  </a:lnTo>
                  <a:lnTo>
                    <a:pt x="11155" y="19187"/>
                  </a:lnTo>
                  <a:lnTo>
                    <a:pt x="11155" y="20185"/>
                  </a:lnTo>
                  <a:lnTo>
                    <a:pt x="11155" y="20579"/>
                  </a:lnTo>
                  <a:lnTo>
                    <a:pt x="11041" y="21043"/>
                  </a:lnTo>
                  <a:lnTo>
                    <a:pt x="10926" y="21391"/>
                  </a:lnTo>
                  <a:lnTo>
                    <a:pt x="10766" y="21600"/>
                  </a:lnTo>
                  <a:lnTo>
                    <a:pt x="11499" y="21484"/>
                  </a:lnTo>
                  <a:lnTo>
                    <a:pt x="12323" y="21043"/>
                  </a:lnTo>
                  <a:lnTo>
                    <a:pt x="13102" y="20370"/>
                  </a:lnTo>
                  <a:lnTo>
                    <a:pt x="13606" y="19628"/>
                  </a:lnTo>
                  <a:lnTo>
                    <a:pt x="13950" y="19071"/>
                  </a:lnTo>
                  <a:lnTo>
                    <a:pt x="14064" y="18677"/>
                  </a:lnTo>
                  <a:lnTo>
                    <a:pt x="14179" y="18097"/>
                  </a:lnTo>
                  <a:lnTo>
                    <a:pt x="14293" y="17586"/>
                  </a:lnTo>
                  <a:lnTo>
                    <a:pt x="14179" y="16913"/>
                  </a:lnTo>
                  <a:lnTo>
                    <a:pt x="14064" y="16241"/>
                  </a:lnTo>
                  <a:lnTo>
                    <a:pt x="13835" y="15614"/>
                  </a:lnTo>
                  <a:lnTo>
                    <a:pt x="13560" y="14872"/>
                  </a:lnTo>
                  <a:lnTo>
                    <a:pt x="13950" y="14941"/>
                  </a:lnTo>
                  <a:lnTo>
                    <a:pt x="14408" y="15150"/>
                  </a:lnTo>
                  <a:lnTo>
                    <a:pt x="14843" y="15266"/>
                  </a:lnTo>
                  <a:lnTo>
                    <a:pt x="15232" y="15614"/>
                  </a:lnTo>
                  <a:lnTo>
                    <a:pt x="15576" y="15846"/>
                  </a:lnTo>
                  <a:lnTo>
                    <a:pt x="15897" y="16171"/>
                  </a:lnTo>
                  <a:lnTo>
                    <a:pt x="16126" y="16473"/>
                  </a:lnTo>
                  <a:lnTo>
                    <a:pt x="16240" y="16913"/>
                  </a:lnTo>
                  <a:lnTo>
                    <a:pt x="16515" y="17261"/>
                  </a:lnTo>
                  <a:lnTo>
                    <a:pt x="17088" y="17586"/>
                  </a:lnTo>
                  <a:lnTo>
                    <a:pt x="17798" y="17865"/>
                  </a:lnTo>
                  <a:lnTo>
                    <a:pt x="18576" y="18097"/>
                  </a:lnTo>
                  <a:lnTo>
                    <a:pt x="19424" y="18213"/>
                  </a:lnTo>
                  <a:lnTo>
                    <a:pt x="20317" y="18213"/>
                  </a:lnTo>
                  <a:lnTo>
                    <a:pt x="21050" y="18213"/>
                  </a:lnTo>
                  <a:lnTo>
                    <a:pt x="21600" y="17865"/>
                  </a:lnTo>
                  <a:lnTo>
                    <a:pt x="21165" y="17656"/>
                  </a:lnTo>
                  <a:lnTo>
                    <a:pt x="20592" y="17470"/>
                  </a:lnTo>
                  <a:lnTo>
                    <a:pt x="20088" y="17029"/>
                  </a:lnTo>
                  <a:lnTo>
                    <a:pt x="19653" y="16681"/>
                  </a:lnTo>
                  <a:lnTo>
                    <a:pt x="19195" y="16241"/>
                  </a:lnTo>
                  <a:lnTo>
                    <a:pt x="18920" y="15962"/>
                  </a:lnTo>
                  <a:lnTo>
                    <a:pt x="18576" y="15498"/>
                  </a:lnTo>
                  <a:lnTo>
                    <a:pt x="18576" y="15057"/>
                  </a:lnTo>
                  <a:lnTo>
                    <a:pt x="18485" y="14756"/>
                  </a:lnTo>
                  <a:lnTo>
                    <a:pt x="18256" y="14199"/>
                  </a:lnTo>
                  <a:lnTo>
                    <a:pt x="17912" y="13526"/>
                  </a:lnTo>
                  <a:lnTo>
                    <a:pt x="17523" y="13016"/>
                  </a:lnTo>
                  <a:lnTo>
                    <a:pt x="16973" y="12436"/>
                  </a:lnTo>
                  <a:lnTo>
                    <a:pt x="16355" y="12041"/>
                  </a:lnTo>
                  <a:lnTo>
                    <a:pt x="16011" y="11832"/>
                  </a:lnTo>
                  <a:lnTo>
                    <a:pt x="15690" y="11716"/>
                  </a:lnTo>
                  <a:lnTo>
                    <a:pt x="15232" y="11716"/>
                  </a:lnTo>
                  <a:lnTo>
                    <a:pt x="14843" y="11716"/>
                  </a:lnTo>
                  <a:lnTo>
                    <a:pt x="15461" y="11252"/>
                  </a:lnTo>
                  <a:lnTo>
                    <a:pt x="16126" y="10858"/>
                  </a:lnTo>
                  <a:lnTo>
                    <a:pt x="16973" y="10649"/>
                  </a:lnTo>
                  <a:lnTo>
                    <a:pt x="17798" y="10417"/>
                  </a:lnTo>
                  <a:lnTo>
                    <a:pt x="18806" y="10301"/>
                  </a:lnTo>
                  <a:lnTo>
                    <a:pt x="19653" y="10301"/>
                  </a:lnTo>
                  <a:lnTo>
                    <a:pt x="20478" y="10417"/>
                  </a:lnTo>
                  <a:lnTo>
                    <a:pt x="21256" y="10533"/>
                  </a:lnTo>
                  <a:lnTo>
                    <a:pt x="20707" y="9837"/>
                  </a:lnTo>
                  <a:lnTo>
                    <a:pt x="19859" y="9234"/>
                  </a:lnTo>
                  <a:lnTo>
                    <a:pt x="18806" y="8538"/>
                  </a:lnTo>
                  <a:lnTo>
                    <a:pt x="17637" y="8144"/>
                  </a:lnTo>
                  <a:lnTo>
                    <a:pt x="16973" y="8027"/>
                  </a:lnTo>
                  <a:lnTo>
                    <a:pt x="16355" y="7935"/>
                  </a:lnTo>
                  <a:lnTo>
                    <a:pt x="15805" y="7935"/>
                  </a:lnTo>
                  <a:lnTo>
                    <a:pt x="15118" y="8027"/>
                  </a:lnTo>
                  <a:lnTo>
                    <a:pt x="14614" y="8144"/>
                  </a:lnTo>
                  <a:lnTo>
                    <a:pt x="14064" y="8422"/>
                  </a:lnTo>
                  <a:lnTo>
                    <a:pt x="13606" y="8886"/>
                  </a:lnTo>
                  <a:lnTo>
                    <a:pt x="13217" y="9327"/>
                  </a:lnTo>
                  <a:lnTo>
                    <a:pt x="13606" y="8538"/>
                  </a:lnTo>
                  <a:lnTo>
                    <a:pt x="13950" y="7935"/>
                  </a:lnTo>
                  <a:lnTo>
                    <a:pt x="14293" y="7123"/>
                  </a:lnTo>
                  <a:lnTo>
                    <a:pt x="14499" y="6519"/>
                  </a:lnTo>
                  <a:lnTo>
                    <a:pt x="14614" y="5823"/>
                  </a:lnTo>
                  <a:lnTo>
                    <a:pt x="14614" y="5220"/>
                  </a:lnTo>
                  <a:lnTo>
                    <a:pt x="14408" y="4524"/>
                  </a:lnTo>
                  <a:lnTo>
                    <a:pt x="14064" y="3898"/>
                  </a:lnTo>
                  <a:lnTo>
                    <a:pt x="13606" y="3225"/>
                  </a:lnTo>
                  <a:lnTo>
                    <a:pt x="13331" y="2598"/>
                  </a:lnTo>
                  <a:lnTo>
                    <a:pt x="13102" y="2042"/>
                  </a:lnTo>
                  <a:lnTo>
                    <a:pt x="12896" y="1485"/>
                  </a:lnTo>
                  <a:lnTo>
                    <a:pt x="12781" y="1090"/>
                  </a:lnTo>
                  <a:lnTo>
                    <a:pt x="12667" y="626"/>
                  </a:lnTo>
                  <a:lnTo>
                    <a:pt x="12667" y="278"/>
                  </a:lnTo>
                  <a:lnTo>
                    <a:pt x="12667" y="0"/>
                  </a:lnTo>
                  <a:lnTo>
                    <a:pt x="12163" y="394"/>
                  </a:lnTo>
                  <a:lnTo>
                    <a:pt x="11728" y="974"/>
                  </a:lnTo>
                  <a:lnTo>
                    <a:pt x="11155" y="1601"/>
                  </a:lnTo>
                  <a:lnTo>
                    <a:pt x="10766" y="2390"/>
                  </a:lnTo>
                  <a:lnTo>
                    <a:pt x="10330" y="3109"/>
                  </a:lnTo>
                  <a:lnTo>
                    <a:pt x="10101" y="3898"/>
                  </a:lnTo>
                  <a:lnTo>
                    <a:pt x="9987" y="4524"/>
                  </a:lnTo>
                  <a:lnTo>
                    <a:pt x="10101" y="5220"/>
                  </a:lnTo>
                  <a:lnTo>
                    <a:pt x="10216" y="5823"/>
                  </a:lnTo>
                  <a:lnTo>
                    <a:pt x="10330" y="6403"/>
                  </a:lnTo>
                  <a:lnTo>
                    <a:pt x="10330" y="6914"/>
                  </a:lnTo>
                  <a:lnTo>
                    <a:pt x="10216" y="7471"/>
                  </a:lnTo>
                  <a:lnTo>
                    <a:pt x="10101" y="7935"/>
                  </a:lnTo>
                  <a:lnTo>
                    <a:pt x="9872" y="8329"/>
                  </a:lnTo>
                  <a:lnTo>
                    <a:pt x="9643" y="8654"/>
                  </a:lnTo>
                  <a:lnTo>
                    <a:pt x="9368" y="9002"/>
                  </a:lnTo>
                  <a:close/>
                </a:path>
              </a:pathLst>
            </a:custGeom>
            <a:solidFill>
              <a:srgbClr val="0080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107763" dir="2700000" algn="ctr" rotWithShape="0">
                <a:srgbClr val="808080"/>
              </a:outerShdw>
            </a:effectLst>
          </p:spPr>
          <p:txBody>
            <a:bodyPr/>
            <a:lstStyle/>
            <a:p>
              <a:pPr algn="ctr">
                <a:defRPr/>
              </a:pPr>
              <a:endParaRPr lang="en-US"/>
            </a:p>
          </p:txBody>
        </p:sp>
      </p:grpSp>
      <p:grpSp>
        <p:nvGrpSpPr>
          <p:cNvPr id="119815" name="Gruppieren 33"/>
          <p:cNvGrpSpPr>
            <a:grpSpLocks/>
          </p:cNvGrpSpPr>
          <p:nvPr/>
        </p:nvGrpSpPr>
        <p:grpSpPr bwMode="auto">
          <a:xfrm>
            <a:off x="2916238" y="4005263"/>
            <a:ext cx="1143000" cy="1285875"/>
            <a:chOff x="1403648" y="3258716"/>
            <a:chExt cx="2168153" cy="2346895"/>
          </a:xfrm>
        </p:grpSpPr>
        <p:sp>
          <p:nvSpPr>
            <p:cNvPr id="119873" name="Freihandform 34"/>
            <p:cNvSpPr>
              <a:spLocks/>
            </p:cNvSpPr>
            <p:nvPr/>
          </p:nvSpPr>
          <p:spPr bwMode="auto">
            <a:xfrm>
              <a:off x="2347665" y="3573016"/>
              <a:ext cx="511969" cy="2032595"/>
            </a:xfrm>
            <a:custGeom>
              <a:avLst/>
              <a:gdLst>
                <a:gd name="T0" fmla="*/ 486871 w 161925"/>
                <a:gd name="T1" fmla="*/ 0 h 1209675"/>
                <a:gd name="T2" fmla="*/ 5018 w 161925"/>
                <a:gd name="T3" fmla="*/ 912267 h 1209675"/>
                <a:gd name="T4" fmla="*/ 456755 w 161925"/>
                <a:gd name="T5" fmla="*/ 1440421 h 1209675"/>
                <a:gd name="T6" fmla="*/ 336292 w 161925"/>
                <a:gd name="T7" fmla="*/ 2032595 h 120967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1925" h="1209675">
                  <a:moveTo>
                    <a:pt x="153987" y="0"/>
                  </a:moveTo>
                  <a:cubicBezTo>
                    <a:pt x="78580" y="200025"/>
                    <a:pt x="3174" y="400050"/>
                    <a:pt x="1587" y="542925"/>
                  </a:cubicBezTo>
                  <a:cubicBezTo>
                    <a:pt x="0" y="685800"/>
                    <a:pt x="127000" y="746125"/>
                    <a:pt x="144462" y="857250"/>
                  </a:cubicBezTo>
                  <a:cubicBezTo>
                    <a:pt x="161925" y="968375"/>
                    <a:pt x="134143" y="1089025"/>
                    <a:pt x="106362" y="1209675"/>
                  </a:cubicBezTo>
                </a:path>
              </a:pathLst>
            </a:custGeom>
            <a:noFill/>
            <a:ln w="76200" cap="flat" cmpd="sng" algn="ctr">
              <a:solidFill>
                <a:srgbClr val="008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anchor="ctr"/>
            <a:lstStyle/>
            <a:p>
              <a:endParaRPr lang="ru-RU"/>
            </a:p>
          </p:txBody>
        </p:sp>
        <p:sp>
          <p:nvSpPr>
            <p:cNvPr id="36" name="plant"/>
            <p:cNvSpPr>
              <a:spLocks noEditPoints="1" noChangeArrowheads="1"/>
            </p:cNvSpPr>
            <p:nvPr/>
          </p:nvSpPr>
          <p:spPr bwMode="auto">
            <a:xfrm>
              <a:off x="1403648" y="3258716"/>
              <a:ext cx="2168153" cy="1321215"/>
            </a:xfrm>
            <a:custGeom>
              <a:avLst/>
              <a:gdLst>
                <a:gd name="T0" fmla="*/ 0 w 21600"/>
                <a:gd name="T1" fmla="*/ 0 h 21600"/>
                <a:gd name="T2" fmla="*/ 10800 w 21600"/>
                <a:gd name="T3" fmla="*/ 0 h 21600"/>
                <a:gd name="T4" fmla="*/ 21600 w 21600"/>
                <a:gd name="T5" fmla="*/ 0 h 21600"/>
                <a:gd name="T6" fmla="*/ 21600 w 21600"/>
                <a:gd name="T7" fmla="*/ 10800 h 21600"/>
                <a:gd name="T8" fmla="*/ 21600 w 21600"/>
                <a:gd name="T9" fmla="*/ 21600 h 21600"/>
                <a:gd name="T10" fmla="*/ 10800 w 21600"/>
                <a:gd name="T11" fmla="*/ 21600 h 21600"/>
                <a:gd name="T12" fmla="*/ 0 w 21600"/>
                <a:gd name="T13" fmla="*/ 21600 h 21600"/>
                <a:gd name="T14" fmla="*/ 0 w 21600"/>
                <a:gd name="T15" fmla="*/ 10800 h 21600"/>
                <a:gd name="T16" fmla="*/ 7100 w 21600"/>
                <a:gd name="T17" fmla="*/ 10092 h 21600"/>
                <a:gd name="T18" fmla="*/ 14545 w 21600"/>
                <a:gd name="T19" fmla="*/ 13573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9368" y="9002"/>
                  </a:moveTo>
                  <a:lnTo>
                    <a:pt x="9254" y="8422"/>
                  </a:lnTo>
                  <a:lnTo>
                    <a:pt x="9139" y="7935"/>
                  </a:lnTo>
                  <a:lnTo>
                    <a:pt x="8819" y="7355"/>
                  </a:lnTo>
                  <a:lnTo>
                    <a:pt x="8475" y="6728"/>
                  </a:lnTo>
                  <a:lnTo>
                    <a:pt x="8040" y="6287"/>
                  </a:lnTo>
                  <a:lnTo>
                    <a:pt x="7421" y="5707"/>
                  </a:lnTo>
                  <a:lnTo>
                    <a:pt x="6574" y="5429"/>
                  </a:lnTo>
                  <a:lnTo>
                    <a:pt x="5452" y="5313"/>
                  </a:lnTo>
                  <a:lnTo>
                    <a:pt x="4856" y="5220"/>
                  </a:lnTo>
                  <a:lnTo>
                    <a:pt x="4169" y="5220"/>
                  </a:lnTo>
                  <a:lnTo>
                    <a:pt x="3665" y="5104"/>
                  </a:lnTo>
                  <a:lnTo>
                    <a:pt x="3001" y="4872"/>
                  </a:lnTo>
                  <a:lnTo>
                    <a:pt x="2497" y="4756"/>
                  </a:lnTo>
                  <a:lnTo>
                    <a:pt x="2062" y="4408"/>
                  </a:lnTo>
                  <a:lnTo>
                    <a:pt x="1603" y="4083"/>
                  </a:lnTo>
                  <a:lnTo>
                    <a:pt x="1283" y="3689"/>
                  </a:lnTo>
                  <a:lnTo>
                    <a:pt x="1283" y="4315"/>
                  </a:lnTo>
                  <a:lnTo>
                    <a:pt x="1489" y="5104"/>
                  </a:lnTo>
                  <a:lnTo>
                    <a:pt x="1832" y="6055"/>
                  </a:lnTo>
                  <a:lnTo>
                    <a:pt x="2382" y="6914"/>
                  </a:lnTo>
                  <a:lnTo>
                    <a:pt x="2680" y="7471"/>
                  </a:lnTo>
                  <a:lnTo>
                    <a:pt x="3115" y="7935"/>
                  </a:lnTo>
                  <a:lnTo>
                    <a:pt x="3573" y="8213"/>
                  </a:lnTo>
                  <a:lnTo>
                    <a:pt x="4077" y="8654"/>
                  </a:lnTo>
                  <a:lnTo>
                    <a:pt x="4627" y="9002"/>
                  </a:lnTo>
                  <a:lnTo>
                    <a:pt x="5245" y="9234"/>
                  </a:lnTo>
                  <a:lnTo>
                    <a:pt x="6024" y="9443"/>
                  </a:lnTo>
                  <a:lnTo>
                    <a:pt x="6757" y="9628"/>
                  </a:lnTo>
                  <a:lnTo>
                    <a:pt x="5177" y="10069"/>
                  </a:lnTo>
                  <a:lnTo>
                    <a:pt x="3963" y="10649"/>
                  </a:lnTo>
                  <a:lnTo>
                    <a:pt x="3344" y="11044"/>
                  </a:lnTo>
                  <a:lnTo>
                    <a:pt x="2886" y="11600"/>
                  </a:lnTo>
                  <a:lnTo>
                    <a:pt x="2497" y="12041"/>
                  </a:lnTo>
                  <a:lnTo>
                    <a:pt x="1947" y="12343"/>
                  </a:lnTo>
                  <a:lnTo>
                    <a:pt x="1168" y="12668"/>
                  </a:lnTo>
                  <a:lnTo>
                    <a:pt x="0" y="12900"/>
                  </a:lnTo>
                  <a:lnTo>
                    <a:pt x="435" y="13248"/>
                  </a:lnTo>
                  <a:lnTo>
                    <a:pt x="779" y="13456"/>
                  </a:lnTo>
                  <a:lnTo>
                    <a:pt x="1283" y="13642"/>
                  </a:lnTo>
                  <a:lnTo>
                    <a:pt x="1718" y="13758"/>
                  </a:lnTo>
                  <a:lnTo>
                    <a:pt x="2680" y="13851"/>
                  </a:lnTo>
                  <a:lnTo>
                    <a:pt x="3573" y="13758"/>
                  </a:lnTo>
                  <a:lnTo>
                    <a:pt x="4512" y="13526"/>
                  </a:lnTo>
                  <a:lnTo>
                    <a:pt x="5360" y="13248"/>
                  </a:lnTo>
                  <a:lnTo>
                    <a:pt x="6139" y="12900"/>
                  </a:lnTo>
                  <a:lnTo>
                    <a:pt x="6757" y="12552"/>
                  </a:lnTo>
                  <a:lnTo>
                    <a:pt x="6459" y="13132"/>
                  </a:lnTo>
                  <a:lnTo>
                    <a:pt x="6139" y="13642"/>
                  </a:lnTo>
                  <a:lnTo>
                    <a:pt x="5910" y="14199"/>
                  </a:lnTo>
                  <a:lnTo>
                    <a:pt x="5681" y="14663"/>
                  </a:lnTo>
                  <a:lnTo>
                    <a:pt x="5681" y="15150"/>
                  </a:lnTo>
                  <a:lnTo>
                    <a:pt x="5681" y="15730"/>
                  </a:lnTo>
                  <a:lnTo>
                    <a:pt x="5681" y="16241"/>
                  </a:lnTo>
                  <a:lnTo>
                    <a:pt x="5795" y="16913"/>
                  </a:lnTo>
                  <a:lnTo>
                    <a:pt x="5910" y="17586"/>
                  </a:lnTo>
                  <a:lnTo>
                    <a:pt x="5910" y="18213"/>
                  </a:lnTo>
                  <a:lnTo>
                    <a:pt x="5795" y="18885"/>
                  </a:lnTo>
                  <a:lnTo>
                    <a:pt x="5566" y="19396"/>
                  </a:lnTo>
                  <a:lnTo>
                    <a:pt x="5245" y="19976"/>
                  </a:lnTo>
                  <a:lnTo>
                    <a:pt x="4971" y="20370"/>
                  </a:lnTo>
                  <a:lnTo>
                    <a:pt x="4512" y="20811"/>
                  </a:lnTo>
                  <a:lnTo>
                    <a:pt x="4077" y="21043"/>
                  </a:lnTo>
                  <a:lnTo>
                    <a:pt x="5177" y="20927"/>
                  </a:lnTo>
                  <a:lnTo>
                    <a:pt x="6253" y="20486"/>
                  </a:lnTo>
                  <a:lnTo>
                    <a:pt x="7421" y="19976"/>
                  </a:lnTo>
                  <a:lnTo>
                    <a:pt x="8361" y="19187"/>
                  </a:lnTo>
                  <a:lnTo>
                    <a:pt x="8819" y="18769"/>
                  </a:lnTo>
                  <a:lnTo>
                    <a:pt x="9139" y="18213"/>
                  </a:lnTo>
                  <a:lnTo>
                    <a:pt x="9437" y="17772"/>
                  </a:lnTo>
                  <a:lnTo>
                    <a:pt x="9643" y="17261"/>
                  </a:lnTo>
                  <a:lnTo>
                    <a:pt x="9872" y="16681"/>
                  </a:lnTo>
                  <a:lnTo>
                    <a:pt x="9872" y="16171"/>
                  </a:lnTo>
                  <a:lnTo>
                    <a:pt x="9872" y="15614"/>
                  </a:lnTo>
                  <a:lnTo>
                    <a:pt x="9758" y="15057"/>
                  </a:lnTo>
                  <a:lnTo>
                    <a:pt x="10216" y="15498"/>
                  </a:lnTo>
                  <a:lnTo>
                    <a:pt x="10537" y="16241"/>
                  </a:lnTo>
                  <a:lnTo>
                    <a:pt x="10834" y="17145"/>
                  </a:lnTo>
                  <a:lnTo>
                    <a:pt x="11041" y="18213"/>
                  </a:lnTo>
                  <a:lnTo>
                    <a:pt x="11155" y="19187"/>
                  </a:lnTo>
                  <a:lnTo>
                    <a:pt x="11155" y="20185"/>
                  </a:lnTo>
                  <a:lnTo>
                    <a:pt x="11155" y="20579"/>
                  </a:lnTo>
                  <a:lnTo>
                    <a:pt x="11041" y="21043"/>
                  </a:lnTo>
                  <a:lnTo>
                    <a:pt x="10926" y="21391"/>
                  </a:lnTo>
                  <a:lnTo>
                    <a:pt x="10766" y="21600"/>
                  </a:lnTo>
                  <a:lnTo>
                    <a:pt x="11499" y="21484"/>
                  </a:lnTo>
                  <a:lnTo>
                    <a:pt x="12323" y="21043"/>
                  </a:lnTo>
                  <a:lnTo>
                    <a:pt x="13102" y="20370"/>
                  </a:lnTo>
                  <a:lnTo>
                    <a:pt x="13606" y="19628"/>
                  </a:lnTo>
                  <a:lnTo>
                    <a:pt x="13950" y="19071"/>
                  </a:lnTo>
                  <a:lnTo>
                    <a:pt x="14064" y="18677"/>
                  </a:lnTo>
                  <a:lnTo>
                    <a:pt x="14179" y="18097"/>
                  </a:lnTo>
                  <a:lnTo>
                    <a:pt x="14293" y="17586"/>
                  </a:lnTo>
                  <a:lnTo>
                    <a:pt x="14179" y="16913"/>
                  </a:lnTo>
                  <a:lnTo>
                    <a:pt x="14064" y="16241"/>
                  </a:lnTo>
                  <a:lnTo>
                    <a:pt x="13835" y="15614"/>
                  </a:lnTo>
                  <a:lnTo>
                    <a:pt x="13560" y="14872"/>
                  </a:lnTo>
                  <a:lnTo>
                    <a:pt x="13950" y="14941"/>
                  </a:lnTo>
                  <a:lnTo>
                    <a:pt x="14408" y="15150"/>
                  </a:lnTo>
                  <a:lnTo>
                    <a:pt x="14843" y="15266"/>
                  </a:lnTo>
                  <a:lnTo>
                    <a:pt x="15232" y="15614"/>
                  </a:lnTo>
                  <a:lnTo>
                    <a:pt x="15576" y="15846"/>
                  </a:lnTo>
                  <a:lnTo>
                    <a:pt x="15897" y="16171"/>
                  </a:lnTo>
                  <a:lnTo>
                    <a:pt x="16126" y="16473"/>
                  </a:lnTo>
                  <a:lnTo>
                    <a:pt x="16240" y="16913"/>
                  </a:lnTo>
                  <a:lnTo>
                    <a:pt x="16515" y="17261"/>
                  </a:lnTo>
                  <a:lnTo>
                    <a:pt x="17088" y="17586"/>
                  </a:lnTo>
                  <a:lnTo>
                    <a:pt x="17798" y="17865"/>
                  </a:lnTo>
                  <a:lnTo>
                    <a:pt x="18576" y="18097"/>
                  </a:lnTo>
                  <a:lnTo>
                    <a:pt x="19424" y="18213"/>
                  </a:lnTo>
                  <a:lnTo>
                    <a:pt x="20317" y="18213"/>
                  </a:lnTo>
                  <a:lnTo>
                    <a:pt x="21050" y="18213"/>
                  </a:lnTo>
                  <a:lnTo>
                    <a:pt x="21600" y="17865"/>
                  </a:lnTo>
                  <a:lnTo>
                    <a:pt x="21165" y="17656"/>
                  </a:lnTo>
                  <a:lnTo>
                    <a:pt x="20592" y="17470"/>
                  </a:lnTo>
                  <a:lnTo>
                    <a:pt x="20088" y="17029"/>
                  </a:lnTo>
                  <a:lnTo>
                    <a:pt x="19653" y="16681"/>
                  </a:lnTo>
                  <a:lnTo>
                    <a:pt x="19195" y="16241"/>
                  </a:lnTo>
                  <a:lnTo>
                    <a:pt x="18920" y="15962"/>
                  </a:lnTo>
                  <a:lnTo>
                    <a:pt x="18576" y="15498"/>
                  </a:lnTo>
                  <a:lnTo>
                    <a:pt x="18576" y="15057"/>
                  </a:lnTo>
                  <a:lnTo>
                    <a:pt x="18485" y="14756"/>
                  </a:lnTo>
                  <a:lnTo>
                    <a:pt x="18256" y="14199"/>
                  </a:lnTo>
                  <a:lnTo>
                    <a:pt x="17912" y="13526"/>
                  </a:lnTo>
                  <a:lnTo>
                    <a:pt x="17523" y="13016"/>
                  </a:lnTo>
                  <a:lnTo>
                    <a:pt x="16973" y="12436"/>
                  </a:lnTo>
                  <a:lnTo>
                    <a:pt x="16355" y="12041"/>
                  </a:lnTo>
                  <a:lnTo>
                    <a:pt x="16011" y="11832"/>
                  </a:lnTo>
                  <a:lnTo>
                    <a:pt x="15690" y="11716"/>
                  </a:lnTo>
                  <a:lnTo>
                    <a:pt x="15232" y="11716"/>
                  </a:lnTo>
                  <a:lnTo>
                    <a:pt x="14843" y="11716"/>
                  </a:lnTo>
                  <a:lnTo>
                    <a:pt x="15461" y="11252"/>
                  </a:lnTo>
                  <a:lnTo>
                    <a:pt x="16126" y="10858"/>
                  </a:lnTo>
                  <a:lnTo>
                    <a:pt x="16973" y="10649"/>
                  </a:lnTo>
                  <a:lnTo>
                    <a:pt x="17798" y="10417"/>
                  </a:lnTo>
                  <a:lnTo>
                    <a:pt x="18806" y="10301"/>
                  </a:lnTo>
                  <a:lnTo>
                    <a:pt x="19653" y="10301"/>
                  </a:lnTo>
                  <a:lnTo>
                    <a:pt x="20478" y="10417"/>
                  </a:lnTo>
                  <a:lnTo>
                    <a:pt x="21256" y="10533"/>
                  </a:lnTo>
                  <a:lnTo>
                    <a:pt x="20707" y="9837"/>
                  </a:lnTo>
                  <a:lnTo>
                    <a:pt x="19859" y="9234"/>
                  </a:lnTo>
                  <a:lnTo>
                    <a:pt x="18806" y="8538"/>
                  </a:lnTo>
                  <a:lnTo>
                    <a:pt x="17637" y="8144"/>
                  </a:lnTo>
                  <a:lnTo>
                    <a:pt x="16973" y="8027"/>
                  </a:lnTo>
                  <a:lnTo>
                    <a:pt x="16355" y="7935"/>
                  </a:lnTo>
                  <a:lnTo>
                    <a:pt x="15805" y="7935"/>
                  </a:lnTo>
                  <a:lnTo>
                    <a:pt x="15118" y="8027"/>
                  </a:lnTo>
                  <a:lnTo>
                    <a:pt x="14614" y="8144"/>
                  </a:lnTo>
                  <a:lnTo>
                    <a:pt x="14064" y="8422"/>
                  </a:lnTo>
                  <a:lnTo>
                    <a:pt x="13606" y="8886"/>
                  </a:lnTo>
                  <a:lnTo>
                    <a:pt x="13217" y="9327"/>
                  </a:lnTo>
                  <a:lnTo>
                    <a:pt x="13606" y="8538"/>
                  </a:lnTo>
                  <a:lnTo>
                    <a:pt x="13950" y="7935"/>
                  </a:lnTo>
                  <a:lnTo>
                    <a:pt x="14293" y="7123"/>
                  </a:lnTo>
                  <a:lnTo>
                    <a:pt x="14499" y="6519"/>
                  </a:lnTo>
                  <a:lnTo>
                    <a:pt x="14614" y="5823"/>
                  </a:lnTo>
                  <a:lnTo>
                    <a:pt x="14614" y="5220"/>
                  </a:lnTo>
                  <a:lnTo>
                    <a:pt x="14408" y="4524"/>
                  </a:lnTo>
                  <a:lnTo>
                    <a:pt x="14064" y="3898"/>
                  </a:lnTo>
                  <a:lnTo>
                    <a:pt x="13606" y="3225"/>
                  </a:lnTo>
                  <a:lnTo>
                    <a:pt x="13331" y="2598"/>
                  </a:lnTo>
                  <a:lnTo>
                    <a:pt x="13102" y="2042"/>
                  </a:lnTo>
                  <a:lnTo>
                    <a:pt x="12896" y="1485"/>
                  </a:lnTo>
                  <a:lnTo>
                    <a:pt x="12781" y="1090"/>
                  </a:lnTo>
                  <a:lnTo>
                    <a:pt x="12667" y="626"/>
                  </a:lnTo>
                  <a:lnTo>
                    <a:pt x="12667" y="278"/>
                  </a:lnTo>
                  <a:lnTo>
                    <a:pt x="12667" y="0"/>
                  </a:lnTo>
                  <a:lnTo>
                    <a:pt x="12163" y="394"/>
                  </a:lnTo>
                  <a:lnTo>
                    <a:pt x="11728" y="974"/>
                  </a:lnTo>
                  <a:lnTo>
                    <a:pt x="11155" y="1601"/>
                  </a:lnTo>
                  <a:lnTo>
                    <a:pt x="10766" y="2390"/>
                  </a:lnTo>
                  <a:lnTo>
                    <a:pt x="10330" y="3109"/>
                  </a:lnTo>
                  <a:lnTo>
                    <a:pt x="10101" y="3898"/>
                  </a:lnTo>
                  <a:lnTo>
                    <a:pt x="9987" y="4524"/>
                  </a:lnTo>
                  <a:lnTo>
                    <a:pt x="10101" y="5220"/>
                  </a:lnTo>
                  <a:lnTo>
                    <a:pt x="10216" y="5823"/>
                  </a:lnTo>
                  <a:lnTo>
                    <a:pt x="10330" y="6403"/>
                  </a:lnTo>
                  <a:lnTo>
                    <a:pt x="10330" y="6914"/>
                  </a:lnTo>
                  <a:lnTo>
                    <a:pt x="10216" y="7471"/>
                  </a:lnTo>
                  <a:lnTo>
                    <a:pt x="10101" y="7935"/>
                  </a:lnTo>
                  <a:lnTo>
                    <a:pt x="9872" y="8329"/>
                  </a:lnTo>
                  <a:lnTo>
                    <a:pt x="9643" y="8654"/>
                  </a:lnTo>
                  <a:lnTo>
                    <a:pt x="9368" y="9002"/>
                  </a:lnTo>
                  <a:close/>
                </a:path>
              </a:pathLst>
            </a:custGeom>
            <a:solidFill>
              <a:srgbClr val="0080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107763" dir="2700000" algn="ctr" rotWithShape="0">
                <a:srgbClr val="808080"/>
              </a:outerShdw>
            </a:effectLst>
          </p:spPr>
          <p:txBody>
            <a:bodyPr/>
            <a:lstStyle/>
            <a:p>
              <a:pPr algn="ctr">
                <a:defRPr/>
              </a:pPr>
              <a:endParaRPr lang="en-US"/>
            </a:p>
          </p:txBody>
        </p:sp>
      </p:grpSp>
      <p:grpSp>
        <p:nvGrpSpPr>
          <p:cNvPr id="119816" name="Gruppieren 44"/>
          <p:cNvGrpSpPr>
            <a:grpSpLocks/>
          </p:cNvGrpSpPr>
          <p:nvPr/>
        </p:nvGrpSpPr>
        <p:grpSpPr bwMode="auto">
          <a:xfrm>
            <a:off x="5508625" y="4005263"/>
            <a:ext cx="350838" cy="1285875"/>
            <a:chOff x="1403648" y="3258716"/>
            <a:chExt cx="2168153" cy="2346895"/>
          </a:xfrm>
        </p:grpSpPr>
        <p:sp>
          <p:nvSpPr>
            <p:cNvPr id="119871" name="Freihandform 45"/>
            <p:cNvSpPr>
              <a:spLocks/>
            </p:cNvSpPr>
            <p:nvPr/>
          </p:nvSpPr>
          <p:spPr bwMode="auto">
            <a:xfrm>
              <a:off x="2347665" y="3573016"/>
              <a:ext cx="511969" cy="2032595"/>
            </a:xfrm>
            <a:custGeom>
              <a:avLst/>
              <a:gdLst>
                <a:gd name="T0" fmla="*/ 486871 w 161925"/>
                <a:gd name="T1" fmla="*/ 0 h 1209675"/>
                <a:gd name="T2" fmla="*/ 5018 w 161925"/>
                <a:gd name="T3" fmla="*/ 912267 h 1209675"/>
                <a:gd name="T4" fmla="*/ 456755 w 161925"/>
                <a:gd name="T5" fmla="*/ 1440421 h 1209675"/>
                <a:gd name="T6" fmla="*/ 336292 w 161925"/>
                <a:gd name="T7" fmla="*/ 2032595 h 120967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1925" h="1209675">
                  <a:moveTo>
                    <a:pt x="153987" y="0"/>
                  </a:moveTo>
                  <a:cubicBezTo>
                    <a:pt x="78580" y="200025"/>
                    <a:pt x="3174" y="400050"/>
                    <a:pt x="1587" y="542925"/>
                  </a:cubicBezTo>
                  <a:cubicBezTo>
                    <a:pt x="0" y="685800"/>
                    <a:pt x="127000" y="746125"/>
                    <a:pt x="144462" y="857250"/>
                  </a:cubicBezTo>
                  <a:cubicBezTo>
                    <a:pt x="161925" y="968375"/>
                    <a:pt x="134143" y="1089025"/>
                    <a:pt x="106362" y="1209675"/>
                  </a:cubicBezTo>
                </a:path>
              </a:pathLst>
            </a:custGeom>
            <a:noFill/>
            <a:ln w="76200" cap="flat" cmpd="sng" algn="ctr">
              <a:solidFill>
                <a:srgbClr val="008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anchor="ctr"/>
            <a:lstStyle/>
            <a:p>
              <a:endParaRPr lang="ru-RU"/>
            </a:p>
          </p:txBody>
        </p:sp>
        <p:sp>
          <p:nvSpPr>
            <p:cNvPr id="47" name="plant"/>
            <p:cNvSpPr>
              <a:spLocks noEditPoints="1" noChangeArrowheads="1"/>
            </p:cNvSpPr>
            <p:nvPr/>
          </p:nvSpPr>
          <p:spPr bwMode="auto">
            <a:xfrm>
              <a:off x="1403648" y="3258716"/>
              <a:ext cx="2168153" cy="1321215"/>
            </a:xfrm>
            <a:custGeom>
              <a:avLst/>
              <a:gdLst>
                <a:gd name="T0" fmla="*/ 0 w 21600"/>
                <a:gd name="T1" fmla="*/ 0 h 21600"/>
                <a:gd name="T2" fmla="*/ 10800 w 21600"/>
                <a:gd name="T3" fmla="*/ 0 h 21600"/>
                <a:gd name="T4" fmla="*/ 21600 w 21600"/>
                <a:gd name="T5" fmla="*/ 0 h 21600"/>
                <a:gd name="T6" fmla="*/ 21600 w 21600"/>
                <a:gd name="T7" fmla="*/ 10800 h 21600"/>
                <a:gd name="T8" fmla="*/ 21600 w 21600"/>
                <a:gd name="T9" fmla="*/ 21600 h 21600"/>
                <a:gd name="T10" fmla="*/ 10800 w 21600"/>
                <a:gd name="T11" fmla="*/ 21600 h 21600"/>
                <a:gd name="T12" fmla="*/ 0 w 21600"/>
                <a:gd name="T13" fmla="*/ 21600 h 21600"/>
                <a:gd name="T14" fmla="*/ 0 w 21600"/>
                <a:gd name="T15" fmla="*/ 10800 h 21600"/>
                <a:gd name="T16" fmla="*/ 7100 w 21600"/>
                <a:gd name="T17" fmla="*/ 10092 h 21600"/>
                <a:gd name="T18" fmla="*/ 14545 w 21600"/>
                <a:gd name="T19" fmla="*/ 13573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9368" y="9002"/>
                  </a:moveTo>
                  <a:lnTo>
                    <a:pt x="9254" y="8422"/>
                  </a:lnTo>
                  <a:lnTo>
                    <a:pt x="9139" y="7935"/>
                  </a:lnTo>
                  <a:lnTo>
                    <a:pt x="8819" y="7355"/>
                  </a:lnTo>
                  <a:lnTo>
                    <a:pt x="8475" y="6728"/>
                  </a:lnTo>
                  <a:lnTo>
                    <a:pt x="8040" y="6287"/>
                  </a:lnTo>
                  <a:lnTo>
                    <a:pt x="7421" y="5707"/>
                  </a:lnTo>
                  <a:lnTo>
                    <a:pt x="6574" y="5429"/>
                  </a:lnTo>
                  <a:lnTo>
                    <a:pt x="5452" y="5313"/>
                  </a:lnTo>
                  <a:lnTo>
                    <a:pt x="4856" y="5220"/>
                  </a:lnTo>
                  <a:lnTo>
                    <a:pt x="4169" y="5220"/>
                  </a:lnTo>
                  <a:lnTo>
                    <a:pt x="3665" y="5104"/>
                  </a:lnTo>
                  <a:lnTo>
                    <a:pt x="3001" y="4872"/>
                  </a:lnTo>
                  <a:lnTo>
                    <a:pt x="2497" y="4756"/>
                  </a:lnTo>
                  <a:lnTo>
                    <a:pt x="2062" y="4408"/>
                  </a:lnTo>
                  <a:lnTo>
                    <a:pt x="1603" y="4083"/>
                  </a:lnTo>
                  <a:lnTo>
                    <a:pt x="1283" y="3689"/>
                  </a:lnTo>
                  <a:lnTo>
                    <a:pt x="1283" y="4315"/>
                  </a:lnTo>
                  <a:lnTo>
                    <a:pt x="1489" y="5104"/>
                  </a:lnTo>
                  <a:lnTo>
                    <a:pt x="1832" y="6055"/>
                  </a:lnTo>
                  <a:lnTo>
                    <a:pt x="2382" y="6914"/>
                  </a:lnTo>
                  <a:lnTo>
                    <a:pt x="2680" y="7471"/>
                  </a:lnTo>
                  <a:lnTo>
                    <a:pt x="3115" y="7935"/>
                  </a:lnTo>
                  <a:lnTo>
                    <a:pt x="3573" y="8213"/>
                  </a:lnTo>
                  <a:lnTo>
                    <a:pt x="4077" y="8654"/>
                  </a:lnTo>
                  <a:lnTo>
                    <a:pt x="4627" y="9002"/>
                  </a:lnTo>
                  <a:lnTo>
                    <a:pt x="5245" y="9234"/>
                  </a:lnTo>
                  <a:lnTo>
                    <a:pt x="6024" y="9443"/>
                  </a:lnTo>
                  <a:lnTo>
                    <a:pt x="6757" y="9628"/>
                  </a:lnTo>
                  <a:lnTo>
                    <a:pt x="5177" y="10069"/>
                  </a:lnTo>
                  <a:lnTo>
                    <a:pt x="3963" y="10649"/>
                  </a:lnTo>
                  <a:lnTo>
                    <a:pt x="3344" y="11044"/>
                  </a:lnTo>
                  <a:lnTo>
                    <a:pt x="2886" y="11600"/>
                  </a:lnTo>
                  <a:lnTo>
                    <a:pt x="2497" y="12041"/>
                  </a:lnTo>
                  <a:lnTo>
                    <a:pt x="1947" y="12343"/>
                  </a:lnTo>
                  <a:lnTo>
                    <a:pt x="1168" y="12668"/>
                  </a:lnTo>
                  <a:lnTo>
                    <a:pt x="0" y="12900"/>
                  </a:lnTo>
                  <a:lnTo>
                    <a:pt x="435" y="13248"/>
                  </a:lnTo>
                  <a:lnTo>
                    <a:pt x="779" y="13456"/>
                  </a:lnTo>
                  <a:lnTo>
                    <a:pt x="1283" y="13642"/>
                  </a:lnTo>
                  <a:lnTo>
                    <a:pt x="1718" y="13758"/>
                  </a:lnTo>
                  <a:lnTo>
                    <a:pt x="2680" y="13851"/>
                  </a:lnTo>
                  <a:lnTo>
                    <a:pt x="3573" y="13758"/>
                  </a:lnTo>
                  <a:lnTo>
                    <a:pt x="4512" y="13526"/>
                  </a:lnTo>
                  <a:lnTo>
                    <a:pt x="5360" y="13248"/>
                  </a:lnTo>
                  <a:lnTo>
                    <a:pt x="6139" y="12900"/>
                  </a:lnTo>
                  <a:lnTo>
                    <a:pt x="6757" y="12552"/>
                  </a:lnTo>
                  <a:lnTo>
                    <a:pt x="6459" y="13132"/>
                  </a:lnTo>
                  <a:lnTo>
                    <a:pt x="6139" y="13642"/>
                  </a:lnTo>
                  <a:lnTo>
                    <a:pt x="5910" y="14199"/>
                  </a:lnTo>
                  <a:lnTo>
                    <a:pt x="5681" y="14663"/>
                  </a:lnTo>
                  <a:lnTo>
                    <a:pt x="5681" y="15150"/>
                  </a:lnTo>
                  <a:lnTo>
                    <a:pt x="5681" y="15730"/>
                  </a:lnTo>
                  <a:lnTo>
                    <a:pt x="5681" y="16241"/>
                  </a:lnTo>
                  <a:lnTo>
                    <a:pt x="5795" y="16913"/>
                  </a:lnTo>
                  <a:lnTo>
                    <a:pt x="5910" y="17586"/>
                  </a:lnTo>
                  <a:lnTo>
                    <a:pt x="5910" y="18213"/>
                  </a:lnTo>
                  <a:lnTo>
                    <a:pt x="5795" y="18885"/>
                  </a:lnTo>
                  <a:lnTo>
                    <a:pt x="5566" y="19396"/>
                  </a:lnTo>
                  <a:lnTo>
                    <a:pt x="5245" y="19976"/>
                  </a:lnTo>
                  <a:lnTo>
                    <a:pt x="4971" y="20370"/>
                  </a:lnTo>
                  <a:lnTo>
                    <a:pt x="4512" y="20811"/>
                  </a:lnTo>
                  <a:lnTo>
                    <a:pt x="4077" y="21043"/>
                  </a:lnTo>
                  <a:lnTo>
                    <a:pt x="5177" y="20927"/>
                  </a:lnTo>
                  <a:lnTo>
                    <a:pt x="6253" y="20486"/>
                  </a:lnTo>
                  <a:lnTo>
                    <a:pt x="7421" y="19976"/>
                  </a:lnTo>
                  <a:lnTo>
                    <a:pt x="8361" y="19187"/>
                  </a:lnTo>
                  <a:lnTo>
                    <a:pt x="8819" y="18769"/>
                  </a:lnTo>
                  <a:lnTo>
                    <a:pt x="9139" y="18213"/>
                  </a:lnTo>
                  <a:lnTo>
                    <a:pt x="9437" y="17772"/>
                  </a:lnTo>
                  <a:lnTo>
                    <a:pt x="9643" y="17261"/>
                  </a:lnTo>
                  <a:lnTo>
                    <a:pt x="9872" y="16681"/>
                  </a:lnTo>
                  <a:lnTo>
                    <a:pt x="9872" y="16171"/>
                  </a:lnTo>
                  <a:lnTo>
                    <a:pt x="9872" y="15614"/>
                  </a:lnTo>
                  <a:lnTo>
                    <a:pt x="9758" y="15057"/>
                  </a:lnTo>
                  <a:lnTo>
                    <a:pt x="10216" y="15498"/>
                  </a:lnTo>
                  <a:lnTo>
                    <a:pt x="10537" y="16241"/>
                  </a:lnTo>
                  <a:lnTo>
                    <a:pt x="10834" y="17145"/>
                  </a:lnTo>
                  <a:lnTo>
                    <a:pt x="11041" y="18213"/>
                  </a:lnTo>
                  <a:lnTo>
                    <a:pt x="11155" y="19187"/>
                  </a:lnTo>
                  <a:lnTo>
                    <a:pt x="11155" y="20185"/>
                  </a:lnTo>
                  <a:lnTo>
                    <a:pt x="11155" y="20579"/>
                  </a:lnTo>
                  <a:lnTo>
                    <a:pt x="11041" y="21043"/>
                  </a:lnTo>
                  <a:lnTo>
                    <a:pt x="10926" y="21391"/>
                  </a:lnTo>
                  <a:lnTo>
                    <a:pt x="10766" y="21600"/>
                  </a:lnTo>
                  <a:lnTo>
                    <a:pt x="11499" y="21484"/>
                  </a:lnTo>
                  <a:lnTo>
                    <a:pt x="12323" y="21043"/>
                  </a:lnTo>
                  <a:lnTo>
                    <a:pt x="13102" y="20370"/>
                  </a:lnTo>
                  <a:lnTo>
                    <a:pt x="13606" y="19628"/>
                  </a:lnTo>
                  <a:lnTo>
                    <a:pt x="13950" y="19071"/>
                  </a:lnTo>
                  <a:lnTo>
                    <a:pt x="14064" y="18677"/>
                  </a:lnTo>
                  <a:lnTo>
                    <a:pt x="14179" y="18097"/>
                  </a:lnTo>
                  <a:lnTo>
                    <a:pt x="14293" y="17586"/>
                  </a:lnTo>
                  <a:lnTo>
                    <a:pt x="14179" y="16913"/>
                  </a:lnTo>
                  <a:lnTo>
                    <a:pt x="14064" y="16241"/>
                  </a:lnTo>
                  <a:lnTo>
                    <a:pt x="13835" y="15614"/>
                  </a:lnTo>
                  <a:lnTo>
                    <a:pt x="13560" y="14872"/>
                  </a:lnTo>
                  <a:lnTo>
                    <a:pt x="13950" y="14941"/>
                  </a:lnTo>
                  <a:lnTo>
                    <a:pt x="14408" y="15150"/>
                  </a:lnTo>
                  <a:lnTo>
                    <a:pt x="14843" y="15266"/>
                  </a:lnTo>
                  <a:lnTo>
                    <a:pt x="15232" y="15614"/>
                  </a:lnTo>
                  <a:lnTo>
                    <a:pt x="15576" y="15846"/>
                  </a:lnTo>
                  <a:lnTo>
                    <a:pt x="15897" y="16171"/>
                  </a:lnTo>
                  <a:lnTo>
                    <a:pt x="16126" y="16473"/>
                  </a:lnTo>
                  <a:lnTo>
                    <a:pt x="16240" y="16913"/>
                  </a:lnTo>
                  <a:lnTo>
                    <a:pt x="16515" y="17261"/>
                  </a:lnTo>
                  <a:lnTo>
                    <a:pt x="17088" y="17586"/>
                  </a:lnTo>
                  <a:lnTo>
                    <a:pt x="17798" y="17865"/>
                  </a:lnTo>
                  <a:lnTo>
                    <a:pt x="18576" y="18097"/>
                  </a:lnTo>
                  <a:lnTo>
                    <a:pt x="19424" y="18213"/>
                  </a:lnTo>
                  <a:lnTo>
                    <a:pt x="20317" y="18213"/>
                  </a:lnTo>
                  <a:lnTo>
                    <a:pt x="21050" y="18213"/>
                  </a:lnTo>
                  <a:lnTo>
                    <a:pt x="21600" y="17865"/>
                  </a:lnTo>
                  <a:lnTo>
                    <a:pt x="21165" y="17656"/>
                  </a:lnTo>
                  <a:lnTo>
                    <a:pt x="20592" y="17470"/>
                  </a:lnTo>
                  <a:lnTo>
                    <a:pt x="20088" y="17029"/>
                  </a:lnTo>
                  <a:lnTo>
                    <a:pt x="19653" y="16681"/>
                  </a:lnTo>
                  <a:lnTo>
                    <a:pt x="19195" y="16241"/>
                  </a:lnTo>
                  <a:lnTo>
                    <a:pt x="18920" y="15962"/>
                  </a:lnTo>
                  <a:lnTo>
                    <a:pt x="18576" y="15498"/>
                  </a:lnTo>
                  <a:lnTo>
                    <a:pt x="18576" y="15057"/>
                  </a:lnTo>
                  <a:lnTo>
                    <a:pt x="18485" y="14756"/>
                  </a:lnTo>
                  <a:lnTo>
                    <a:pt x="18256" y="14199"/>
                  </a:lnTo>
                  <a:lnTo>
                    <a:pt x="17912" y="13526"/>
                  </a:lnTo>
                  <a:lnTo>
                    <a:pt x="17523" y="13016"/>
                  </a:lnTo>
                  <a:lnTo>
                    <a:pt x="16973" y="12436"/>
                  </a:lnTo>
                  <a:lnTo>
                    <a:pt x="16355" y="12041"/>
                  </a:lnTo>
                  <a:lnTo>
                    <a:pt x="16011" y="11832"/>
                  </a:lnTo>
                  <a:lnTo>
                    <a:pt x="15690" y="11716"/>
                  </a:lnTo>
                  <a:lnTo>
                    <a:pt x="15232" y="11716"/>
                  </a:lnTo>
                  <a:lnTo>
                    <a:pt x="14843" y="11716"/>
                  </a:lnTo>
                  <a:lnTo>
                    <a:pt x="15461" y="11252"/>
                  </a:lnTo>
                  <a:lnTo>
                    <a:pt x="16126" y="10858"/>
                  </a:lnTo>
                  <a:lnTo>
                    <a:pt x="16973" y="10649"/>
                  </a:lnTo>
                  <a:lnTo>
                    <a:pt x="17798" y="10417"/>
                  </a:lnTo>
                  <a:lnTo>
                    <a:pt x="18806" y="10301"/>
                  </a:lnTo>
                  <a:lnTo>
                    <a:pt x="19653" y="10301"/>
                  </a:lnTo>
                  <a:lnTo>
                    <a:pt x="20478" y="10417"/>
                  </a:lnTo>
                  <a:lnTo>
                    <a:pt x="21256" y="10533"/>
                  </a:lnTo>
                  <a:lnTo>
                    <a:pt x="20707" y="9837"/>
                  </a:lnTo>
                  <a:lnTo>
                    <a:pt x="19859" y="9234"/>
                  </a:lnTo>
                  <a:lnTo>
                    <a:pt x="18806" y="8538"/>
                  </a:lnTo>
                  <a:lnTo>
                    <a:pt x="17637" y="8144"/>
                  </a:lnTo>
                  <a:lnTo>
                    <a:pt x="16973" y="8027"/>
                  </a:lnTo>
                  <a:lnTo>
                    <a:pt x="16355" y="7935"/>
                  </a:lnTo>
                  <a:lnTo>
                    <a:pt x="15805" y="7935"/>
                  </a:lnTo>
                  <a:lnTo>
                    <a:pt x="15118" y="8027"/>
                  </a:lnTo>
                  <a:lnTo>
                    <a:pt x="14614" y="8144"/>
                  </a:lnTo>
                  <a:lnTo>
                    <a:pt x="14064" y="8422"/>
                  </a:lnTo>
                  <a:lnTo>
                    <a:pt x="13606" y="8886"/>
                  </a:lnTo>
                  <a:lnTo>
                    <a:pt x="13217" y="9327"/>
                  </a:lnTo>
                  <a:lnTo>
                    <a:pt x="13606" y="8538"/>
                  </a:lnTo>
                  <a:lnTo>
                    <a:pt x="13950" y="7935"/>
                  </a:lnTo>
                  <a:lnTo>
                    <a:pt x="14293" y="7123"/>
                  </a:lnTo>
                  <a:lnTo>
                    <a:pt x="14499" y="6519"/>
                  </a:lnTo>
                  <a:lnTo>
                    <a:pt x="14614" y="5823"/>
                  </a:lnTo>
                  <a:lnTo>
                    <a:pt x="14614" y="5220"/>
                  </a:lnTo>
                  <a:lnTo>
                    <a:pt x="14408" y="4524"/>
                  </a:lnTo>
                  <a:lnTo>
                    <a:pt x="14064" y="3898"/>
                  </a:lnTo>
                  <a:lnTo>
                    <a:pt x="13606" y="3225"/>
                  </a:lnTo>
                  <a:lnTo>
                    <a:pt x="13331" y="2598"/>
                  </a:lnTo>
                  <a:lnTo>
                    <a:pt x="13102" y="2042"/>
                  </a:lnTo>
                  <a:lnTo>
                    <a:pt x="12896" y="1485"/>
                  </a:lnTo>
                  <a:lnTo>
                    <a:pt x="12781" y="1090"/>
                  </a:lnTo>
                  <a:lnTo>
                    <a:pt x="12667" y="626"/>
                  </a:lnTo>
                  <a:lnTo>
                    <a:pt x="12667" y="278"/>
                  </a:lnTo>
                  <a:lnTo>
                    <a:pt x="12667" y="0"/>
                  </a:lnTo>
                  <a:lnTo>
                    <a:pt x="12163" y="394"/>
                  </a:lnTo>
                  <a:lnTo>
                    <a:pt x="11728" y="974"/>
                  </a:lnTo>
                  <a:lnTo>
                    <a:pt x="11155" y="1601"/>
                  </a:lnTo>
                  <a:lnTo>
                    <a:pt x="10766" y="2390"/>
                  </a:lnTo>
                  <a:lnTo>
                    <a:pt x="10330" y="3109"/>
                  </a:lnTo>
                  <a:lnTo>
                    <a:pt x="10101" y="3898"/>
                  </a:lnTo>
                  <a:lnTo>
                    <a:pt x="9987" y="4524"/>
                  </a:lnTo>
                  <a:lnTo>
                    <a:pt x="10101" y="5220"/>
                  </a:lnTo>
                  <a:lnTo>
                    <a:pt x="10216" y="5823"/>
                  </a:lnTo>
                  <a:lnTo>
                    <a:pt x="10330" y="6403"/>
                  </a:lnTo>
                  <a:lnTo>
                    <a:pt x="10330" y="6914"/>
                  </a:lnTo>
                  <a:lnTo>
                    <a:pt x="10216" y="7471"/>
                  </a:lnTo>
                  <a:lnTo>
                    <a:pt x="10101" y="7935"/>
                  </a:lnTo>
                  <a:lnTo>
                    <a:pt x="9872" y="8329"/>
                  </a:lnTo>
                  <a:lnTo>
                    <a:pt x="9643" y="8654"/>
                  </a:lnTo>
                  <a:lnTo>
                    <a:pt x="9368" y="9002"/>
                  </a:lnTo>
                  <a:close/>
                </a:path>
              </a:pathLst>
            </a:custGeom>
            <a:solidFill>
              <a:srgbClr val="0080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107763" dir="2700000" algn="ctr" rotWithShape="0">
                <a:srgbClr val="808080"/>
              </a:outerShdw>
            </a:effectLst>
          </p:spPr>
          <p:txBody>
            <a:bodyPr/>
            <a:lstStyle/>
            <a:p>
              <a:pPr algn="ctr">
                <a:defRPr/>
              </a:pPr>
              <a:endParaRPr lang="en-US"/>
            </a:p>
          </p:txBody>
        </p:sp>
      </p:grpSp>
      <p:grpSp>
        <p:nvGrpSpPr>
          <p:cNvPr id="119817" name="Gruppieren 59"/>
          <p:cNvGrpSpPr>
            <a:grpSpLocks/>
          </p:cNvGrpSpPr>
          <p:nvPr/>
        </p:nvGrpSpPr>
        <p:grpSpPr bwMode="auto">
          <a:xfrm>
            <a:off x="5580063" y="4005263"/>
            <a:ext cx="352425" cy="1285875"/>
            <a:chOff x="1403648" y="3258716"/>
            <a:chExt cx="2168153" cy="2346895"/>
          </a:xfrm>
        </p:grpSpPr>
        <p:sp>
          <p:nvSpPr>
            <p:cNvPr id="119869" name="Freihandform 60"/>
            <p:cNvSpPr>
              <a:spLocks/>
            </p:cNvSpPr>
            <p:nvPr/>
          </p:nvSpPr>
          <p:spPr bwMode="auto">
            <a:xfrm>
              <a:off x="2347665" y="3573016"/>
              <a:ext cx="511969" cy="2032595"/>
            </a:xfrm>
            <a:custGeom>
              <a:avLst/>
              <a:gdLst>
                <a:gd name="T0" fmla="*/ 486871 w 161925"/>
                <a:gd name="T1" fmla="*/ 0 h 1209675"/>
                <a:gd name="T2" fmla="*/ 5018 w 161925"/>
                <a:gd name="T3" fmla="*/ 912267 h 1209675"/>
                <a:gd name="T4" fmla="*/ 456755 w 161925"/>
                <a:gd name="T5" fmla="*/ 1440421 h 1209675"/>
                <a:gd name="T6" fmla="*/ 336292 w 161925"/>
                <a:gd name="T7" fmla="*/ 2032595 h 120967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1925" h="1209675">
                  <a:moveTo>
                    <a:pt x="153987" y="0"/>
                  </a:moveTo>
                  <a:cubicBezTo>
                    <a:pt x="78580" y="200025"/>
                    <a:pt x="3174" y="400050"/>
                    <a:pt x="1587" y="542925"/>
                  </a:cubicBezTo>
                  <a:cubicBezTo>
                    <a:pt x="0" y="685800"/>
                    <a:pt x="127000" y="746125"/>
                    <a:pt x="144462" y="857250"/>
                  </a:cubicBezTo>
                  <a:cubicBezTo>
                    <a:pt x="161925" y="968375"/>
                    <a:pt x="134143" y="1089025"/>
                    <a:pt x="106362" y="1209675"/>
                  </a:cubicBezTo>
                </a:path>
              </a:pathLst>
            </a:custGeom>
            <a:noFill/>
            <a:ln w="76200" cap="flat" cmpd="sng" algn="ctr">
              <a:solidFill>
                <a:srgbClr val="008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anchor="ctr"/>
            <a:lstStyle/>
            <a:p>
              <a:endParaRPr lang="ru-RU"/>
            </a:p>
          </p:txBody>
        </p:sp>
        <p:sp>
          <p:nvSpPr>
            <p:cNvPr id="62" name="plant"/>
            <p:cNvSpPr>
              <a:spLocks noEditPoints="1" noChangeArrowheads="1"/>
            </p:cNvSpPr>
            <p:nvPr/>
          </p:nvSpPr>
          <p:spPr bwMode="auto">
            <a:xfrm>
              <a:off x="1403648" y="3258716"/>
              <a:ext cx="2168153" cy="1321215"/>
            </a:xfrm>
            <a:custGeom>
              <a:avLst/>
              <a:gdLst>
                <a:gd name="T0" fmla="*/ 0 w 21600"/>
                <a:gd name="T1" fmla="*/ 0 h 21600"/>
                <a:gd name="T2" fmla="*/ 10800 w 21600"/>
                <a:gd name="T3" fmla="*/ 0 h 21600"/>
                <a:gd name="T4" fmla="*/ 21600 w 21600"/>
                <a:gd name="T5" fmla="*/ 0 h 21600"/>
                <a:gd name="T6" fmla="*/ 21600 w 21600"/>
                <a:gd name="T7" fmla="*/ 10800 h 21600"/>
                <a:gd name="T8" fmla="*/ 21600 w 21600"/>
                <a:gd name="T9" fmla="*/ 21600 h 21600"/>
                <a:gd name="T10" fmla="*/ 10800 w 21600"/>
                <a:gd name="T11" fmla="*/ 21600 h 21600"/>
                <a:gd name="T12" fmla="*/ 0 w 21600"/>
                <a:gd name="T13" fmla="*/ 21600 h 21600"/>
                <a:gd name="T14" fmla="*/ 0 w 21600"/>
                <a:gd name="T15" fmla="*/ 10800 h 21600"/>
                <a:gd name="T16" fmla="*/ 7100 w 21600"/>
                <a:gd name="T17" fmla="*/ 10092 h 21600"/>
                <a:gd name="T18" fmla="*/ 14545 w 21600"/>
                <a:gd name="T19" fmla="*/ 13573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9368" y="9002"/>
                  </a:moveTo>
                  <a:lnTo>
                    <a:pt x="9254" y="8422"/>
                  </a:lnTo>
                  <a:lnTo>
                    <a:pt x="9139" y="7935"/>
                  </a:lnTo>
                  <a:lnTo>
                    <a:pt x="8819" y="7355"/>
                  </a:lnTo>
                  <a:lnTo>
                    <a:pt x="8475" y="6728"/>
                  </a:lnTo>
                  <a:lnTo>
                    <a:pt x="8040" y="6287"/>
                  </a:lnTo>
                  <a:lnTo>
                    <a:pt x="7421" y="5707"/>
                  </a:lnTo>
                  <a:lnTo>
                    <a:pt x="6574" y="5429"/>
                  </a:lnTo>
                  <a:lnTo>
                    <a:pt x="5452" y="5313"/>
                  </a:lnTo>
                  <a:lnTo>
                    <a:pt x="4856" y="5220"/>
                  </a:lnTo>
                  <a:lnTo>
                    <a:pt x="4169" y="5220"/>
                  </a:lnTo>
                  <a:lnTo>
                    <a:pt x="3665" y="5104"/>
                  </a:lnTo>
                  <a:lnTo>
                    <a:pt x="3001" y="4872"/>
                  </a:lnTo>
                  <a:lnTo>
                    <a:pt x="2497" y="4756"/>
                  </a:lnTo>
                  <a:lnTo>
                    <a:pt x="2062" y="4408"/>
                  </a:lnTo>
                  <a:lnTo>
                    <a:pt x="1603" y="4083"/>
                  </a:lnTo>
                  <a:lnTo>
                    <a:pt x="1283" y="3689"/>
                  </a:lnTo>
                  <a:lnTo>
                    <a:pt x="1283" y="4315"/>
                  </a:lnTo>
                  <a:lnTo>
                    <a:pt x="1489" y="5104"/>
                  </a:lnTo>
                  <a:lnTo>
                    <a:pt x="1832" y="6055"/>
                  </a:lnTo>
                  <a:lnTo>
                    <a:pt x="2382" y="6914"/>
                  </a:lnTo>
                  <a:lnTo>
                    <a:pt x="2680" y="7471"/>
                  </a:lnTo>
                  <a:lnTo>
                    <a:pt x="3115" y="7935"/>
                  </a:lnTo>
                  <a:lnTo>
                    <a:pt x="3573" y="8213"/>
                  </a:lnTo>
                  <a:lnTo>
                    <a:pt x="4077" y="8654"/>
                  </a:lnTo>
                  <a:lnTo>
                    <a:pt x="4627" y="9002"/>
                  </a:lnTo>
                  <a:lnTo>
                    <a:pt x="5245" y="9234"/>
                  </a:lnTo>
                  <a:lnTo>
                    <a:pt x="6024" y="9443"/>
                  </a:lnTo>
                  <a:lnTo>
                    <a:pt x="6757" y="9628"/>
                  </a:lnTo>
                  <a:lnTo>
                    <a:pt x="5177" y="10069"/>
                  </a:lnTo>
                  <a:lnTo>
                    <a:pt x="3963" y="10649"/>
                  </a:lnTo>
                  <a:lnTo>
                    <a:pt x="3344" y="11044"/>
                  </a:lnTo>
                  <a:lnTo>
                    <a:pt x="2886" y="11600"/>
                  </a:lnTo>
                  <a:lnTo>
                    <a:pt x="2497" y="12041"/>
                  </a:lnTo>
                  <a:lnTo>
                    <a:pt x="1947" y="12343"/>
                  </a:lnTo>
                  <a:lnTo>
                    <a:pt x="1168" y="12668"/>
                  </a:lnTo>
                  <a:lnTo>
                    <a:pt x="0" y="12900"/>
                  </a:lnTo>
                  <a:lnTo>
                    <a:pt x="435" y="13248"/>
                  </a:lnTo>
                  <a:lnTo>
                    <a:pt x="779" y="13456"/>
                  </a:lnTo>
                  <a:lnTo>
                    <a:pt x="1283" y="13642"/>
                  </a:lnTo>
                  <a:lnTo>
                    <a:pt x="1718" y="13758"/>
                  </a:lnTo>
                  <a:lnTo>
                    <a:pt x="2680" y="13851"/>
                  </a:lnTo>
                  <a:lnTo>
                    <a:pt x="3573" y="13758"/>
                  </a:lnTo>
                  <a:lnTo>
                    <a:pt x="4512" y="13526"/>
                  </a:lnTo>
                  <a:lnTo>
                    <a:pt x="5360" y="13248"/>
                  </a:lnTo>
                  <a:lnTo>
                    <a:pt x="6139" y="12900"/>
                  </a:lnTo>
                  <a:lnTo>
                    <a:pt x="6757" y="12552"/>
                  </a:lnTo>
                  <a:lnTo>
                    <a:pt x="6459" y="13132"/>
                  </a:lnTo>
                  <a:lnTo>
                    <a:pt x="6139" y="13642"/>
                  </a:lnTo>
                  <a:lnTo>
                    <a:pt x="5910" y="14199"/>
                  </a:lnTo>
                  <a:lnTo>
                    <a:pt x="5681" y="14663"/>
                  </a:lnTo>
                  <a:lnTo>
                    <a:pt x="5681" y="15150"/>
                  </a:lnTo>
                  <a:lnTo>
                    <a:pt x="5681" y="15730"/>
                  </a:lnTo>
                  <a:lnTo>
                    <a:pt x="5681" y="16241"/>
                  </a:lnTo>
                  <a:lnTo>
                    <a:pt x="5795" y="16913"/>
                  </a:lnTo>
                  <a:lnTo>
                    <a:pt x="5910" y="17586"/>
                  </a:lnTo>
                  <a:lnTo>
                    <a:pt x="5910" y="18213"/>
                  </a:lnTo>
                  <a:lnTo>
                    <a:pt x="5795" y="18885"/>
                  </a:lnTo>
                  <a:lnTo>
                    <a:pt x="5566" y="19396"/>
                  </a:lnTo>
                  <a:lnTo>
                    <a:pt x="5245" y="19976"/>
                  </a:lnTo>
                  <a:lnTo>
                    <a:pt x="4971" y="20370"/>
                  </a:lnTo>
                  <a:lnTo>
                    <a:pt x="4512" y="20811"/>
                  </a:lnTo>
                  <a:lnTo>
                    <a:pt x="4077" y="21043"/>
                  </a:lnTo>
                  <a:lnTo>
                    <a:pt x="5177" y="20927"/>
                  </a:lnTo>
                  <a:lnTo>
                    <a:pt x="6253" y="20486"/>
                  </a:lnTo>
                  <a:lnTo>
                    <a:pt x="7421" y="19976"/>
                  </a:lnTo>
                  <a:lnTo>
                    <a:pt x="8361" y="19187"/>
                  </a:lnTo>
                  <a:lnTo>
                    <a:pt x="8819" y="18769"/>
                  </a:lnTo>
                  <a:lnTo>
                    <a:pt x="9139" y="18213"/>
                  </a:lnTo>
                  <a:lnTo>
                    <a:pt x="9437" y="17772"/>
                  </a:lnTo>
                  <a:lnTo>
                    <a:pt x="9643" y="17261"/>
                  </a:lnTo>
                  <a:lnTo>
                    <a:pt x="9872" y="16681"/>
                  </a:lnTo>
                  <a:lnTo>
                    <a:pt x="9872" y="16171"/>
                  </a:lnTo>
                  <a:lnTo>
                    <a:pt x="9872" y="15614"/>
                  </a:lnTo>
                  <a:lnTo>
                    <a:pt x="9758" y="15057"/>
                  </a:lnTo>
                  <a:lnTo>
                    <a:pt x="10216" y="15498"/>
                  </a:lnTo>
                  <a:lnTo>
                    <a:pt x="10537" y="16241"/>
                  </a:lnTo>
                  <a:lnTo>
                    <a:pt x="10834" y="17145"/>
                  </a:lnTo>
                  <a:lnTo>
                    <a:pt x="11041" y="18213"/>
                  </a:lnTo>
                  <a:lnTo>
                    <a:pt x="11155" y="19187"/>
                  </a:lnTo>
                  <a:lnTo>
                    <a:pt x="11155" y="20185"/>
                  </a:lnTo>
                  <a:lnTo>
                    <a:pt x="11155" y="20579"/>
                  </a:lnTo>
                  <a:lnTo>
                    <a:pt x="11041" y="21043"/>
                  </a:lnTo>
                  <a:lnTo>
                    <a:pt x="10926" y="21391"/>
                  </a:lnTo>
                  <a:lnTo>
                    <a:pt x="10766" y="21600"/>
                  </a:lnTo>
                  <a:lnTo>
                    <a:pt x="11499" y="21484"/>
                  </a:lnTo>
                  <a:lnTo>
                    <a:pt x="12323" y="21043"/>
                  </a:lnTo>
                  <a:lnTo>
                    <a:pt x="13102" y="20370"/>
                  </a:lnTo>
                  <a:lnTo>
                    <a:pt x="13606" y="19628"/>
                  </a:lnTo>
                  <a:lnTo>
                    <a:pt x="13950" y="19071"/>
                  </a:lnTo>
                  <a:lnTo>
                    <a:pt x="14064" y="18677"/>
                  </a:lnTo>
                  <a:lnTo>
                    <a:pt x="14179" y="18097"/>
                  </a:lnTo>
                  <a:lnTo>
                    <a:pt x="14293" y="17586"/>
                  </a:lnTo>
                  <a:lnTo>
                    <a:pt x="14179" y="16913"/>
                  </a:lnTo>
                  <a:lnTo>
                    <a:pt x="14064" y="16241"/>
                  </a:lnTo>
                  <a:lnTo>
                    <a:pt x="13835" y="15614"/>
                  </a:lnTo>
                  <a:lnTo>
                    <a:pt x="13560" y="14872"/>
                  </a:lnTo>
                  <a:lnTo>
                    <a:pt x="13950" y="14941"/>
                  </a:lnTo>
                  <a:lnTo>
                    <a:pt x="14408" y="15150"/>
                  </a:lnTo>
                  <a:lnTo>
                    <a:pt x="14843" y="15266"/>
                  </a:lnTo>
                  <a:lnTo>
                    <a:pt x="15232" y="15614"/>
                  </a:lnTo>
                  <a:lnTo>
                    <a:pt x="15576" y="15846"/>
                  </a:lnTo>
                  <a:lnTo>
                    <a:pt x="15897" y="16171"/>
                  </a:lnTo>
                  <a:lnTo>
                    <a:pt x="16126" y="16473"/>
                  </a:lnTo>
                  <a:lnTo>
                    <a:pt x="16240" y="16913"/>
                  </a:lnTo>
                  <a:lnTo>
                    <a:pt x="16515" y="17261"/>
                  </a:lnTo>
                  <a:lnTo>
                    <a:pt x="17088" y="17586"/>
                  </a:lnTo>
                  <a:lnTo>
                    <a:pt x="17798" y="17865"/>
                  </a:lnTo>
                  <a:lnTo>
                    <a:pt x="18576" y="18097"/>
                  </a:lnTo>
                  <a:lnTo>
                    <a:pt x="19424" y="18213"/>
                  </a:lnTo>
                  <a:lnTo>
                    <a:pt x="20317" y="18213"/>
                  </a:lnTo>
                  <a:lnTo>
                    <a:pt x="21050" y="18213"/>
                  </a:lnTo>
                  <a:lnTo>
                    <a:pt x="21600" y="17865"/>
                  </a:lnTo>
                  <a:lnTo>
                    <a:pt x="21165" y="17656"/>
                  </a:lnTo>
                  <a:lnTo>
                    <a:pt x="20592" y="17470"/>
                  </a:lnTo>
                  <a:lnTo>
                    <a:pt x="20088" y="17029"/>
                  </a:lnTo>
                  <a:lnTo>
                    <a:pt x="19653" y="16681"/>
                  </a:lnTo>
                  <a:lnTo>
                    <a:pt x="19195" y="16241"/>
                  </a:lnTo>
                  <a:lnTo>
                    <a:pt x="18920" y="15962"/>
                  </a:lnTo>
                  <a:lnTo>
                    <a:pt x="18576" y="15498"/>
                  </a:lnTo>
                  <a:lnTo>
                    <a:pt x="18576" y="15057"/>
                  </a:lnTo>
                  <a:lnTo>
                    <a:pt x="18485" y="14756"/>
                  </a:lnTo>
                  <a:lnTo>
                    <a:pt x="18256" y="14199"/>
                  </a:lnTo>
                  <a:lnTo>
                    <a:pt x="17912" y="13526"/>
                  </a:lnTo>
                  <a:lnTo>
                    <a:pt x="17523" y="13016"/>
                  </a:lnTo>
                  <a:lnTo>
                    <a:pt x="16973" y="12436"/>
                  </a:lnTo>
                  <a:lnTo>
                    <a:pt x="16355" y="12041"/>
                  </a:lnTo>
                  <a:lnTo>
                    <a:pt x="16011" y="11832"/>
                  </a:lnTo>
                  <a:lnTo>
                    <a:pt x="15690" y="11716"/>
                  </a:lnTo>
                  <a:lnTo>
                    <a:pt x="15232" y="11716"/>
                  </a:lnTo>
                  <a:lnTo>
                    <a:pt x="14843" y="11716"/>
                  </a:lnTo>
                  <a:lnTo>
                    <a:pt x="15461" y="11252"/>
                  </a:lnTo>
                  <a:lnTo>
                    <a:pt x="16126" y="10858"/>
                  </a:lnTo>
                  <a:lnTo>
                    <a:pt x="16973" y="10649"/>
                  </a:lnTo>
                  <a:lnTo>
                    <a:pt x="17798" y="10417"/>
                  </a:lnTo>
                  <a:lnTo>
                    <a:pt x="18806" y="10301"/>
                  </a:lnTo>
                  <a:lnTo>
                    <a:pt x="19653" y="10301"/>
                  </a:lnTo>
                  <a:lnTo>
                    <a:pt x="20478" y="10417"/>
                  </a:lnTo>
                  <a:lnTo>
                    <a:pt x="21256" y="10533"/>
                  </a:lnTo>
                  <a:lnTo>
                    <a:pt x="20707" y="9837"/>
                  </a:lnTo>
                  <a:lnTo>
                    <a:pt x="19859" y="9234"/>
                  </a:lnTo>
                  <a:lnTo>
                    <a:pt x="18806" y="8538"/>
                  </a:lnTo>
                  <a:lnTo>
                    <a:pt x="17637" y="8144"/>
                  </a:lnTo>
                  <a:lnTo>
                    <a:pt x="16973" y="8027"/>
                  </a:lnTo>
                  <a:lnTo>
                    <a:pt x="16355" y="7935"/>
                  </a:lnTo>
                  <a:lnTo>
                    <a:pt x="15805" y="7935"/>
                  </a:lnTo>
                  <a:lnTo>
                    <a:pt x="15118" y="8027"/>
                  </a:lnTo>
                  <a:lnTo>
                    <a:pt x="14614" y="8144"/>
                  </a:lnTo>
                  <a:lnTo>
                    <a:pt x="14064" y="8422"/>
                  </a:lnTo>
                  <a:lnTo>
                    <a:pt x="13606" y="8886"/>
                  </a:lnTo>
                  <a:lnTo>
                    <a:pt x="13217" y="9327"/>
                  </a:lnTo>
                  <a:lnTo>
                    <a:pt x="13606" y="8538"/>
                  </a:lnTo>
                  <a:lnTo>
                    <a:pt x="13950" y="7935"/>
                  </a:lnTo>
                  <a:lnTo>
                    <a:pt x="14293" y="7123"/>
                  </a:lnTo>
                  <a:lnTo>
                    <a:pt x="14499" y="6519"/>
                  </a:lnTo>
                  <a:lnTo>
                    <a:pt x="14614" y="5823"/>
                  </a:lnTo>
                  <a:lnTo>
                    <a:pt x="14614" y="5220"/>
                  </a:lnTo>
                  <a:lnTo>
                    <a:pt x="14408" y="4524"/>
                  </a:lnTo>
                  <a:lnTo>
                    <a:pt x="14064" y="3898"/>
                  </a:lnTo>
                  <a:lnTo>
                    <a:pt x="13606" y="3225"/>
                  </a:lnTo>
                  <a:lnTo>
                    <a:pt x="13331" y="2598"/>
                  </a:lnTo>
                  <a:lnTo>
                    <a:pt x="13102" y="2042"/>
                  </a:lnTo>
                  <a:lnTo>
                    <a:pt x="12896" y="1485"/>
                  </a:lnTo>
                  <a:lnTo>
                    <a:pt x="12781" y="1090"/>
                  </a:lnTo>
                  <a:lnTo>
                    <a:pt x="12667" y="626"/>
                  </a:lnTo>
                  <a:lnTo>
                    <a:pt x="12667" y="278"/>
                  </a:lnTo>
                  <a:lnTo>
                    <a:pt x="12667" y="0"/>
                  </a:lnTo>
                  <a:lnTo>
                    <a:pt x="12163" y="394"/>
                  </a:lnTo>
                  <a:lnTo>
                    <a:pt x="11728" y="974"/>
                  </a:lnTo>
                  <a:lnTo>
                    <a:pt x="11155" y="1601"/>
                  </a:lnTo>
                  <a:lnTo>
                    <a:pt x="10766" y="2390"/>
                  </a:lnTo>
                  <a:lnTo>
                    <a:pt x="10330" y="3109"/>
                  </a:lnTo>
                  <a:lnTo>
                    <a:pt x="10101" y="3898"/>
                  </a:lnTo>
                  <a:lnTo>
                    <a:pt x="9987" y="4524"/>
                  </a:lnTo>
                  <a:lnTo>
                    <a:pt x="10101" y="5220"/>
                  </a:lnTo>
                  <a:lnTo>
                    <a:pt x="10216" y="5823"/>
                  </a:lnTo>
                  <a:lnTo>
                    <a:pt x="10330" y="6403"/>
                  </a:lnTo>
                  <a:lnTo>
                    <a:pt x="10330" y="6914"/>
                  </a:lnTo>
                  <a:lnTo>
                    <a:pt x="10216" y="7471"/>
                  </a:lnTo>
                  <a:lnTo>
                    <a:pt x="10101" y="7935"/>
                  </a:lnTo>
                  <a:lnTo>
                    <a:pt x="9872" y="8329"/>
                  </a:lnTo>
                  <a:lnTo>
                    <a:pt x="9643" y="8654"/>
                  </a:lnTo>
                  <a:lnTo>
                    <a:pt x="9368" y="9002"/>
                  </a:lnTo>
                  <a:close/>
                </a:path>
              </a:pathLst>
            </a:custGeom>
            <a:solidFill>
              <a:srgbClr val="0080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107763" dir="2700000" algn="ctr" rotWithShape="0">
                <a:srgbClr val="808080"/>
              </a:outerShdw>
            </a:effectLst>
          </p:spPr>
          <p:txBody>
            <a:bodyPr/>
            <a:lstStyle/>
            <a:p>
              <a:pPr algn="ctr">
                <a:defRPr/>
              </a:pPr>
              <a:endParaRPr lang="en-US"/>
            </a:p>
          </p:txBody>
        </p:sp>
      </p:grpSp>
      <p:grpSp>
        <p:nvGrpSpPr>
          <p:cNvPr id="119818" name="Gruppieren 62"/>
          <p:cNvGrpSpPr>
            <a:grpSpLocks/>
          </p:cNvGrpSpPr>
          <p:nvPr/>
        </p:nvGrpSpPr>
        <p:grpSpPr bwMode="auto">
          <a:xfrm>
            <a:off x="5651500" y="4005263"/>
            <a:ext cx="352425" cy="1285875"/>
            <a:chOff x="1403648" y="3258716"/>
            <a:chExt cx="2168153" cy="2346895"/>
          </a:xfrm>
        </p:grpSpPr>
        <p:sp>
          <p:nvSpPr>
            <p:cNvPr id="119867" name="Freihandform 63"/>
            <p:cNvSpPr>
              <a:spLocks/>
            </p:cNvSpPr>
            <p:nvPr/>
          </p:nvSpPr>
          <p:spPr bwMode="auto">
            <a:xfrm>
              <a:off x="2347665" y="3573016"/>
              <a:ext cx="511969" cy="2032595"/>
            </a:xfrm>
            <a:custGeom>
              <a:avLst/>
              <a:gdLst>
                <a:gd name="T0" fmla="*/ 486871 w 161925"/>
                <a:gd name="T1" fmla="*/ 0 h 1209675"/>
                <a:gd name="T2" fmla="*/ 5018 w 161925"/>
                <a:gd name="T3" fmla="*/ 912267 h 1209675"/>
                <a:gd name="T4" fmla="*/ 456755 w 161925"/>
                <a:gd name="T5" fmla="*/ 1440421 h 1209675"/>
                <a:gd name="T6" fmla="*/ 336292 w 161925"/>
                <a:gd name="T7" fmla="*/ 2032595 h 120967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1925" h="1209675">
                  <a:moveTo>
                    <a:pt x="153987" y="0"/>
                  </a:moveTo>
                  <a:cubicBezTo>
                    <a:pt x="78580" y="200025"/>
                    <a:pt x="3174" y="400050"/>
                    <a:pt x="1587" y="542925"/>
                  </a:cubicBezTo>
                  <a:cubicBezTo>
                    <a:pt x="0" y="685800"/>
                    <a:pt x="127000" y="746125"/>
                    <a:pt x="144462" y="857250"/>
                  </a:cubicBezTo>
                  <a:cubicBezTo>
                    <a:pt x="161925" y="968375"/>
                    <a:pt x="134143" y="1089025"/>
                    <a:pt x="106362" y="1209675"/>
                  </a:cubicBezTo>
                </a:path>
              </a:pathLst>
            </a:custGeom>
            <a:noFill/>
            <a:ln w="76200" cap="flat" cmpd="sng" algn="ctr">
              <a:solidFill>
                <a:srgbClr val="008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anchor="ctr"/>
            <a:lstStyle/>
            <a:p>
              <a:endParaRPr lang="ru-RU"/>
            </a:p>
          </p:txBody>
        </p:sp>
        <p:sp>
          <p:nvSpPr>
            <p:cNvPr id="65" name="plant"/>
            <p:cNvSpPr>
              <a:spLocks noEditPoints="1" noChangeArrowheads="1"/>
            </p:cNvSpPr>
            <p:nvPr/>
          </p:nvSpPr>
          <p:spPr bwMode="auto">
            <a:xfrm>
              <a:off x="1403648" y="3258716"/>
              <a:ext cx="2168153" cy="1321215"/>
            </a:xfrm>
            <a:custGeom>
              <a:avLst/>
              <a:gdLst>
                <a:gd name="T0" fmla="*/ 0 w 21600"/>
                <a:gd name="T1" fmla="*/ 0 h 21600"/>
                <a:gd name="T2" fmla="*/ 10800 w 21600"/>
                <a:gd name="T3" fmla="*/ 0 h 21600"/>
                <a:gd name="T4" fmla="*/ 21600 w 21600"/>
                <a:gd name="T5" fmla="*/ 0 h 21600"/>
                <a:gd name="T6" fmla="*/ 21600 w 21600"/>
                <a:gd name="T7" fmla="*/ 10800 h 21600"/>
                <a:gd name="T8" fmla="*/ 21600 w 21600"/>
                <a:gd name="T9" fmla="*/ 21600 h 21600"/>
                <a:gd name="T10" fmla="*/ 10800 w 21600"/>
                <a:gd name="T11" fmla="*/ 21600 h 21600"/>
                <a:gd name="T12" fmla="*/ 0 w 21600"/>
                <a:gd name="T13" fmla="*/ 21600 h 21600"/>
                <a:gd name="T14" fmla="*/ 0 w 21600"/>
                <a:gd name="T15" fmla="*/ 10800 h 21600"/>
                <a:gd name="T16" fmla="*/ 7100 w 21600"/>
                <a:gd name="T17" fmla="*/ 10092 h 21600"/>
                <a:gd name="T18" fmla="*/ 14545 w 21600"/>
                <a:gd name="T19" fmla="*/ 13573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9368" y="9002"/>
                  </a:moveTo>
                  <a:lnTo>
                    <a:pt x="9254" y="8422"/>
                  </a:lnTo>
                  <a:lnTo>
                    <a:pt x="9139" y="7935"/>
                  </a:lnTo>
                  <a:lnTo>
                    <a:pt x="8819" y="7355"/>
                  </a:lnTo>
                  <a:lnTo>
                    <a:pt x="8475" y="6728"/>
                  </a:lnTo>
                  <a:lnTo>
                    <a:pt x="8040" y="6287"/>
                  </a:lnTo>
                  <a:lnTo>
                    <a:pt x="7421" y="5707"/>
                  </a:lnTo>
                  <a:lnTo>
                    <a:pt x="6574" y="5429"/>
                  </a:lnTo>
                  <a:lnTo>
                    <a:pt x="5452" y="5313"/>
                  </a:lnTo>
                  <a:lnTo>
                    <a:pt x="4856" y="5220"/>
                  </a:lnTo>
                  <a:lnTo>
                    <a:pt x="4169" y="5220"/>
                  </a:lnTo>
                  <a:lnTo>
                    <a:pt x="3665" y="5104"/>
                  </a:lnTo>
                  <a:lnTo>
                    <a:pt x="3001" y="4872"/>
                  </a:lnTo>
                  <a:lnTo>
                    <a:pt x="2497" y="4756"/>
                  </a:lnTo>
                  <a:lnTo>
                    <a:pt x="2062" y="4408"/>
                  </a:lnTo>
                  <a:lnTo>
                    <a:pt x="1603" y="4083"/>
                  </a:lnTo>
                  <a:lnTo>
                    <a:pt x="1283" y="3689"/>
                  </a:lnTo>
                  <a:lnTo>
                    <a:pt x="1283" y="4315"/>
                  </a:lnTo>
                  <a:lnTo>
                    <a:pt x="1489" y="5104"/>
                  </a:lnTo>
                  <a:lnTo>
                    <a:pt x="1832" y="6055"/>
                  </a:lnTo>
                  <a:lnTo>
                    <a:pt x="2382" y="6914"/>
                  </a:lnTo>
                  <a:lnTo>
                    <a:pt x="2680" y="7471"/>
                  </a:lnTo>
                  <a:lnTo>
                    <a:pt x="3115" y="7935"/>
                  </a:lnTo>
                  <a:lnTo>
                    <a:pt x="3573" y="8213"/>
                  </a:lnTo>
                  <a:lnTo>
                    <a:pt x="4077" y="8654"/>
                  </a:lnTo>
                  <a:lnTo>
                    <a:pt x="4627" y="9002"/>
                  </a:lnTo>
                  <a:lnTo>
                    <a:pt x="5245" y="9234"/>
                  </a:lnTo>
                  <a:lnTo>
                    <a:pt x="6024" y="9443"/>
                  </a:lnTo>
                  <a:lnTo>
                    <a:pt x="6757" y="9628"/>
                  </a:lnTo>
                  <a:lnTo>
                    <a:pt x="5177" y="10069"/>
                  </a:lnTo>
                  <a:lnTo>
                    <a:pt x="3963" y="10649"/>
                  </a:lnTo>
                  <a:lnTo>
                    <a:pt x="3344" y="11044"/>
                  </a:lnTo>
                  <a:lnTo>
                    <a:pt x="2886" y="11600"/>
                  </a:lnTo>
                  <a:lnTo>
                    <a:pt x="2497" y="12041"/>
                  </a:lnTo>
                  <a:lnTo>
                    <a:pt x="1947" y="12343"/>
                  </a:lnTo>
                  <a:lnTo>
                    <a:pt x="1168" y="12668"/>
                  </a:lnTo>
                  <a:lnTo>
                    <a:pt x="0" y="12900"/>
                  </a:lnTo>
                  <a:lnTo>
                    <a:pt x="435" y="13248"/>
                  </a:lnTo>
                  <a:lnTo>
                    <a:pt x="779" y="13456"/>
                  </a:lnTo>
                  <a:lnTo>
                    <a:pt x="1283" y="13642"/>
                  </a:lnTo>
                  <a:lnTo>
                    <a:pt x="1718" y="13758"/>
                  </a:lnTo>
                  <a:lnTo>
                    <a:pt x="2680" y="13851"/>
                  </a:lnTo>
                  <a:lnTo>
                    <a:pt x="3573" y="13758"/>
                  </a:lnTo>
                  <a:lnTo>
                    <a:pt x="4512" y="13526"/>
                  </a:lnTo>
                  <a:lnTo>
                    <a:pt x="5360" y="13248"/>
                  </a:lnTo>
                  <a:lnTo>
                    <a:pt x="6139" y="12900"/>
                  </a:lnTo>
                  <a:lnTo>
                    <a:pt x="6757" y="12552"/>
                  </a:lnTo>
                  <a:lnTo>
                    <a:pt x="6459" y="13132"/>
                  </a:lnTo>
                  <a:lnTo>
                    <a:pt x="6139" y="13642"/>
                  </a:lnTo>
                  <a:lnTo>
                    <a:pt x="5910" y="14199"/>
                  </a:lnTo>
                  <a:lnTo>
                    <a:pt x="5681" y="14663"/>
                  </a:lnTo>
                  <a:lnTo>
                    <a:pt x="5681" y="15150"/>
                  </a:lnTo>
                  <a:lnTo>
                    <a:pt x="5681" y="15730"/>
                  </a:lnTo>
                  <a:lnTo>
                    <a:pt x="5681" y="16241"/>
                  </a:lnTo>
                  <a:lnTo>
                    <a:pt x="5795" y="16913"/>
                  </a:lnTo>
                  <a:lnTo>
                    <a:pt x="5910" y="17586"/>
                  </a:lnTo>
                  <a:lnTo>
                    <a:pt x="5910" y="18213"/>
                  </a:lnTo>
                  <a:lnTo>
                    <a:pt x="5795" y="18885"/>
                  </a:lnTo>
                  <a:lnTo>
                    <a:pt x="5566" y="19396"/>
                  </a:lnTo>
                  <a:lnTo>
                    <a:pt x="5245" y="19976"/>
                  </a:lnTo>
                  <a:lnTo>
                    <a:pt x="4971" y="20370"/>
                  </a:lnTo>
                  <a:lnTo>
                    <a:pt x="4512" y="20811"/>
                  </a:lnTo>
                  <a:lnTo>
                    <a:pt x="4077" y="21043"/>
                  </a:lnTo>
                  <a:lnTo>
                    <a:pt x="5177" y="20927"/>
                  </a:lnTo>
                  <a:lnTo>
                    <a:pt x="6253" y="20486"/>
                  </a:lnTo>
                  <a:lnTo>
                    <a:pt x="7421" y="19976"/>
                  </a:lnTo>
                  <a:lnTo>
                    <a:pt x="8361" y="19187"/>
                  </a:lnTo>
                  <a:lnTo>
                    <a:pt x="8819" y="18769"/>
                  </a:lnTo>
                  <a:lnTo>
                    <a:pt x="9139" y="18213"/>
                  </a:lnTo>
                  <a:lnTo>
                    <a:pt x="9437" y="17772"/>
                  </a:lnTo>
                  <a:lnTo>
                    <a:pt x="9643" y="17261"/>
                  </a:lnTo>
                  <a:lnTo>
                    <a:pt x="9872" y="16681"/>
                  </a:lnTo>
                  <a:lnTo>
                    <a:pt x="9872" y="16171"/>
                  </a:lnTo>
                  <a:lnTo>
                    <a:pt x="9872" y="15614"/>
                  </a:lnTo>
                  <a:lnTo>
                    <a:pt x="9758" y="15057"/>
                  </a:lnTo>
                  <a:lnTo>
                    <a:pt x="10216" y="15498"/>
                  </a:lnTo>
                  <a:lnTo>
                    <a:pt x="10537" y="16241"/>
                  </a:lnTo>
                  <a:lnTo>
                    <a:pt x="10834" y="17145"/>
                  </a:lnTo>
                  <a:lnTo>
                    <a:pt x="11041" y="18213"/>
                  </a:lnTo>
                  <a:lnTo>
                    <a:pt x="11155" y="19187"/>
                  </a:lnTo>
                  <a:lnTo>
                    <a:pt x="11155" y="20185"/>
                  </a:lnTo>
                  <a:lnTo>
                    <a:pt x="11155" y="20579"/>
                  </a:lnTo>
                  <a:lnTo>
                    <a:pt x="11041" y="21043"/>
                  </a:lnTo>
                  <a:lnTo>
                    <a:pt x="10926" y="21391"/>
                  </a:lnTo>
                  <a:lnTo>
                    <a:pt x="10766" y="21600"/>
                  </a:lnTo>
                  <a:lnTo>
                    <a:pt x="11499" y="21484"/>
                  </a:lnTo>
                  <a:lnTo>
                    <a:pt x="12323" y="21043"/>
                  </a:lnTo>
                  <a:lnTo>
                    <a:pt x="13102" y="20370"/>
                  </a:lnTo>
                  <a:lnTo>
                    <a:pt x="13606" y="19628"/>
                  </a:lnTo>
                  <a:lnTo>
                    <a:pt x="13950" y="19071"/>
                  </a:lnTo>
                  <a:lnTo>
                    <a:pt x="14064" y="18677"/>
                  </a:lnTo>
                  <a:lnTo>
                    <a:pt x="14179" y="18097"/>
                  </a:lnTo>
                  <a:lnTo>
                    <a:pt x="14293" y="17586"/>
                  </a:lnTo>
                  <a:lnTo>
                    <a:pt x="14179" y="16913"/>
                  </a:lnTo>
                  <a:lnTo>
                    <a:pt x="14064" y="16241"/>
                  </a:lnTo>
                  <a:lnTo>
                    <a:pt x="13835" y="15614"/>
                  </a:lnTo>
                  <a:lnTo>
                    <a:pt x="13560" y="14872"/>
                  </a:lnTo>
                  <a:lnTo>
                    <a:pt x="13950" y="14941"/>
                  </a:lnTo>
                  <a:lnTo>
                    <a:pt x="14408" y="15150"/>
                  </a:lnTo>
                  <a:lnTo>
                    <a:pt x="14843" y="15266"/>
                  </a:lnTo>
                  <a:lnTo>
                    <a:pt x="15232" y="15614"/>
                  </a:lnTo>
                  <a:lnTo>
                    <a:pt x="15576" y="15846"/>
                  </a:lnTo>
                  <a:lnTo>
                    <a:pt x="15897" y="16171"/>
                  </a:lnTo>
                  <a:lnTo>
                    <a:pt x="16126" y="16473"/>
                  </a:lnTo>
                  <a:lnTo>
                    <a:pt x="16240" y="16913"/>
                  </a:lnTo>
                  <a:lnTo>
                    <a:pt x="16515" y="17261"/>
                  </a:lnTo>
                  <a:lnTo>
                    <a:pt x="17088" y="17586"/>
                  </a:lnTo>
                  <a:lnTo>
                    <a:pt x="17798" y="17865"/>
                  </a:lnTo>
                  <a:lnTo>
                    <a:pt x="18576" y="18097"/>
                  </a:lnTo>
                  <a:lnTo>
                    <a:pt x="19424" y="18213"/>
                  </a:lnTo>
                  <a:lnTo>
                    <a:pt x="20317" y="18213"/>
                  </a:lnTo>
                  <a:lnTo>
                    <a:pt x="21050" y="18213"/>
                  </a:lnTo>
                  <a:lnTo>
                    <a:pt x="21600" y="17865"/>
                  </a:lnTo>
                  <a:lnTo>
                    <a:pt x="21165" y="17656"/>
                  </a:lnTo>
                  <a:lnTo>
                    <a:pt x="20592" y="17470"/>
                  </a:lnTo>
                  <a:lnTo>
                    <a:pt x="20088" y="17029"/>
                  </a:lnTo>
                  <a:lnTo>
                    <a:pt x="19653" y="16681"/>
                  </a:lnTo>
                  <a:lnTo>
                    <a:pt x="19195" y="16241"/>
                  </a:lnTo>
                  <a:lnTo>
                    <a:pt x="18920" y="15962"/>
                  </a:lnTo>
                  <a:lnTo>
                    <a:pt x="18576" y="15498"/>
                  </a:lnTo>
                  <a:lnTo>
                    <a:pt x="18576" y="15057"/>
                  </a:lnTo>
                  <a:lnTo>
                    <a:pt x="18485" y="14756"/>
                  </a:lnTo>
                  <a:lnTo>
                    <a:pt x="18256" y="14199"/>
                  </a:lnTo>
                  <a:lnTo>
                    <a:pt x="17912" y="13526"/>
                  </a:lnTo>
                  <a:lnTo>
                    <a:pt x="17523" y="13016"/>
                  </a:lnTo>
                  <a:lnTo>
                    <a:pt x="16973" y="12436"/>
                  </a:lnTo>
                  <a:lnTo>
                    <a:pt x="16355" y="12041"/>
                  </a:lnTo>
                  <a:lnTo>
                    <a:pt x="16011" y="11832"/>
                  </a:lnTo>
                  <a:lnTo>
                    <a:pt x="15690" y="11716"/>
                  </a:lnTo>
                  <a:lnTo>
                    <a:pt x="15232" y="11716"/>
                  </a:lnTo>
                  <a:lnTo>
                    <a:pt x="14843" y="11716"/>
                  </a:lnTo>
                  <a:lnTo>
                    <a:pt x="15461" y="11252"/>
                  </a:lnTo>
                  <a:lnTo>
                    <a:pt x="16126" y="10858"/>
                  </a:lnTo>
                  <a:lnTo>
                    <a:pt x="16973" y="10649"/>
                  </a:lnTo>
                  <a:lnTo>
                    <a:pt x="17798" y="10417"/>
                  </a:lnTo>
                  <a:lnTo>
                    <a:pt x="18806" y="10301"/>
                  </a:lnTo>
                  <a:lnTo>
                    <a:pt x="19653" y="10301"/>
                  </a:lnTo>
                  <a:lnTo>
                    <a:pt x="20478" y="10417"/>
                  </a:lnTo>
                  <a:lnTo>
                    <a:pt x="21256" y="10533"/>
                  </a:lnTo>
                  <a:lnTo>
                    <a:pt x="20707" y="9837"/>
                  </a:lnTo>
                  <a:lnTo>
                    <a:pt x="19859" y="9234"/>
                  </a:lnTo>
                  <a:lnTo>
                    <a:pt x="18806" y="8538"/>
                  </a:lnTo>
                  <a:lnTo>
                    <a:pt x="17637" y="8144"/>
                  </a:lnTo>
                  <a:lnTo>
                    <a:pt x="16973" y="8027"/>
                  </a:lnTo>
                  <a:lnTo>
                    <a:pt x="16355" y="7935"/>
                  </a:lnTo>
                  <a:lnTo>
                    <a:pt x="15805" y="7935"/>
                  </a:lnTo>
                  <a:lnTo>
                    <a:pt x="15118" y="8027"/>
                  </a:lnTo>
                  <a:lnTo>
                    <a:pt x="14614" y="8144"/>
                  </a:lnTo>
                  <a:lnTo>
                    <a:pt x="14064" y="8422"/>
                  </a:lnTo>
                  <a:lnTo>
                    <a:pt x="13606" y="8886"/>
                  </a:lnTo>
                  <a:lnTo>
                    <a:pt x="13217" y="9327"/>
                  </a:lnTo>
                  <a:lnTo>
                    <a:pt x="13606" y="8538"/>
                  </a:lnTo>
                  <a:lnTo>
                    <a:pt x="13950" y="7935"/>
                  </a:lnTo>
                  <a:lnTo>
                    <a:pt x="14293" y="7123"/>
                  </a:lnTo>
                  <a:lnTo>
                    <a:pt x="14499" y="6519"/>
                  </a:lnTo>
                  <a:lnTo>
                    <a:pt x="14614" y="5823"/>
                  </a:lnTo>
                  <a:lnTo>
                    <a:pt x="14614" y="5220"/>
                  </a:lnTo>
                  <a:lnTo>
                    <a:pt x="14408" y="4524"/>
                  </a:lnTo>
                  <a:lnTo>
                    <a:pt x="14064" y="3898"/>
                  </a:lnTo>
                  <a:lnTo>
                    <a:pt x="13606" y="3225"/>
                  </a:lnTo>
                  <a:lnTo>
                    <a:pt x="13331" y="2598"/>
                  </a:lnTo>
                  <a:lnTo>
                    <a:pt x="13102" y="2042"/>
                  </a:lnTo>
                  <a:lnTo>
                    <a:pt x="12896" y="1485"/>
                  </a:lnTo>
                  <a:lnTo>
                    <a:pt x="12781" y="1090"/>
                  </a:lnTo>
                  <a:lnTo>
                    <a:pt x="12667" y="626"/>
                  </a:lnTo>
                  <a:lnTo>
                    <a:pt x="12667" y="278"/>
                  </a:lnTo>
                  <a:lnTo>
                    <a:pt x="12667" y="0"/>
                  </a:lnTo>
                  <a:lnTo>
                    <a:pt x="12163" y="394"/>
                  </a:lnTo>
                  <a:lnTo>
                    <a:pt x="11728" y="974"/>
                  </a:lnTo>
                  <a:lnTo>
                    <a:pt x="11155" y="1601"/>
                  </a:lnTo>
                  <a:lnTo>
                    <a:pt x="10766" y="2390"/>
                  </a:lnTo>
                  <a:lnTo>
                    <a:pt x="10330" y="3109"/>
                  </a:lnTo>
                  <a:lnTo>
                    <a:pt x="10101" y="3898"/>
                  </a:lnTo>
                  <a:lnTo>
                    <a:pt x="9987" y="4524"/>
                  </a:lnTo>
                  <a:lnTo>
                    <a:pt x="10101" y="5220"/>
                  </a:lnTo>
                  <a:lnTo>
                    <a:pt x="10216" y="5823"/>
                  </a:lnTo>
                  <a:lnTo>
                    <a:pt x="10330" y="6403"/>
                  </a:lnTo>
                  <a:lnTo>
                    <a:pt x="10330" y="6914"/>
                  </a:lnTo>
                  <a:lnTo>
                    <a:pt x="10216" y="7471"/>
                  </a:lnTo>
                  <a:lnTo>
                    <a:pt x="10101" y="7935"/>
                  </a:lnTo>
                  <a:lnTo>
                    <a:pt x="9872" y="8329"/>
                  </a:lnTo>
                  <a:lnTo>
                    <a:pt x="9643" y="8654"/>
                  </a:lnTo>
                  <a:lnTo>
                    <a:pt x="9368" y="9002"/>
                  </a:lnTo>
                  <a:close/>
                </a:path>
              </a:pathLst>
            </a:custGeom>
            <a:solidFill>
              <a:srgbClr val="0080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107763" dir="2700000" algn="ctr" rotWithShape="0">
                <a:srgbClr val="808080"/>
              </a:outerShdw>
            </a:effectLst>
          </p:spPr>
          <p:txBody>
            <a:bodyPr/>
            <a:lstStyle/>
            <a:p>
              <a:pPr algn="ctr">
                <a:defRPr/>
              </a:pPr>
              <a:endParaRPr lang="en-US"/>
            </a:p>
          </p:txBody>
        </p:sp>
      </p:grpSp>
      <p:grpSp>
        <p:nvGrpSpPr>
          <p:cNvPr id="119819" name="Gruppieren 65"/>
          <p:cNvGrpSpPr>
            <a:grpSpLocks/>
          </p:cNvGrpSpPr>
          <p:nvPr/>
        </p:nvGrpSpPr>
        <p:grpSpPr bwMode="auto">
          <a:xfrm>
            <a:off x="6524625" y="4005263"/>
            <a:ext cx="350838" cy="1285875"/>
            <a:chOff x="1403648" y="3258716"/>
            <a:chExt cx="2168153" cy="2346895"/>
          </a:xfrm>
        </p:grpSpPr>
        <p:sp>
          <p:nvSpPr>
            <p:cNvPr id="119865" name="Freihandform 66"/>
            <p:cNvSpPr>
              <a:spLocks/>
            </p:cNvSpPr>
            <p:nvPr/>
          </p:nvSpPr>
          <p:spPr bwMode="auto">
            <a:xfrm>
              <a:off x="2347665" y="3573016"/>
              <a:ext cx="511969" cy="2032595"/>
            </a:xfrm>
            <a:custGeom>
              <a:avLst/>
              <a:gdLst>
                <a:gd name="T0" fmla="*/ 486871 w 161925"/>
                <a:gd name="T1" fmla="*/ 0 h 1209675"/>
                <a:gd name="T2" fmla="*/ 5018 w 161925"/>
                <a:gd name="T3" fmla="*/ 912267 h 1209675"/>
                <a:gd name="T4" fmla="*/ 456755 w 161925"/>
                <a:gd name="T5" fmla="*/ 1440421 h 1209675"/>
                <a:gd name="T6" fmla="*/ 336292 w 161925"/>
                <a:gd name="T7" fmla="*/ 2032595 h 120967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1925" h="1209675">
                  <a:moveTo>
                    <a:pt x="153987" y="0"/>
                  </a:moveTo>
                  <a:cubicBezTo>
                    <a:pt x="78580" y="200025"/>
                    <a:pt x="3174" y="400050"/>
                    <a:pt x="1587" y="542925"/>
                  </a:cubicBezTo>
                  <a:cubicBezTo>
                    <a:pt x="0" y="685800"/>
                    <a:pt x="127000" y="746125"/>
                    <a:pt x="144462" y="857250"/>
                  </a:cubicBezTo>
                  <a:cubicBezTo>
                    <a:pt x="161925" y="968375"/>
                    <a:pt x="134143" y="1089025"/>
                    <a:pt x="106362" y="1209675"/>
                  </a:cubicBezTo>
                </a:path>
              </a:pathLst>
            </a:custGeom>
            <a:noFill/>
            <a:ln w="76200" cap="flat" cmpd="sng" algn="ctr">
              <a:solidFill>
                <a:srgbClr val="008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anchor="ctr"/>
            <a:lstStyle/>
            <a:p>
              <a:endParaRPr lang="ru-RU"/>
            </a:p>
          </p:txBody>
        </p:sp>
        <p:sp>
          <p:nvSpPr>
            <p:cNvPr id="68" name="plant"/>
            <p:cNvSpPr>
              <a:spLocks noEditPoints="1" noChangeArrowheads="1"/>
            </p:cNvSpPr>
            <p:nvPr/>
          </p:nvSpPr>
          <p:spPr bwMode="auto">
            <a:xfrm>
              <a:off x="1403648" y="3258716"/>
              <a:ext cx="2168153" cy="1321215"/>
            </a:xfrm>
            <a:custGeom>
              <a:avLst/>
              <a:gdLst>
                <a:gd name="T0" fmla="*/ 0 w 21600"/>
                <a:gd name="T1" fmla="*/ 0 h 21600"/>
                <a:gd name="T2" fmla="*/ 10800 w 21600"/>
                <a:gd name="T3" fmla="*/ 0 h 21600"/>
                <a:gd name="T4" fmla="*/ 21600 w 21600"/>
                <a:gd name="T5" fmla="*/ 0 h 21600"/>
                <a:gd name="T6" fmla="*/ 21600 w 21600"/>
                <a:gd name="T7" fmla="*/ 10800 h 21600"/>
                <a:gd name="T8" fmla="*/ 21600 w 21600"/>
                <a:gd name="T9" fmla="*/ 21600 h 21600"/>
                <a:gd name="T10" fmla="*/ 10800 w 21600"/>
                <a:gd name="T11" fmla="*/ 21600 h 21600"/>
                <a:gd name="T12" fmla="*/ 0 w 21600"/>
                <a:gd name="T13" fmla="*/ 21600 h 21600"/>
                <a:gd name="T14" fmla="*/ 0 w 21600"/>
                <a:gd name="T15" fmla="*/ 10800 h 21600"/>
                <a:gd name="T16" fmla="*/ 7100 w 21600"/>
                <a:gd name="T17" fmla="*/ 10092 h 21600"/>
                <a:gd name="T18" fmla="*/ 14545 w 21600"/>
                <a:gd name="T19" fmla="*/ 13573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9368" y="9002"/>
                  </a:moveTo>
                  <a:lnTo>
                    <a:pt x="9254" y="8422"/>
                  </a:lnTo>
                  <a:lnTo>
                    <a:pt x="9139" y="7935"/>
                  </a:lnTo>
                  <a:lnTo>
                    <a:pt x="8819" y="7355"/>
                  </a:lnTo>
                  <a:lnTo>
                    <a:pt x="8475" y="6728"/>
                  </a:lnTo>
                  <a:lnTo>
                    <a:pt x="8040" y="6287"/>
                  </a:lnTo>
                  <a:lnTo>
                    <a:pt x="7421" y="5707"/>
                  </a:lnTo>
                  <a:lnTo>
                    <a:pt x="6574" y="5429"/>
                  </a:lnTo>
                  <a:lnTo>
                    <a:pt x="5452" y="5313"/>
                  </a:lnTo>
                  <a:lnTo>
                    <a:pt x="4856" y="5220"/>
                  </a:lnTo>
                  <a:lnTo>
                    <a:pt x="4169" y="5220"/>
                  </a:lnTo>
                  <a:lnTo>
                    <a:pt x="3665" y="5104"/>
                  </a:lnTo>
                  <a:lnTo>
                    <a:pt x="3001" y="4872"/>
                  </a:lnTo>
                  <a:lnTo>
                    <a:pt x="2497" y="4756"/>
                  </a:lnTo>
                  <a:lnTo>
                    <a:pt x="2062" y="4408"/>
                  </a:lnTo>
                  <a:lnTo>
                    <a:pt x="1603" y="4083"/>
                  </a:lnTo>
                  <a:lnTo>
                    <a:pt x="1283" y="3689"/>
                  </a:lnTo>
                  <a:lnTo>
                    <a:pt x="1283" y="4315"/>
                  </a:lnTo>
                  <a:lnTo>
                    <a:pt x="1489" y="5104"/>
                  </a:lnTo>
                  <a:lnTo>
                    <a:pt x="1832" y="6055"/>
                  </a:lnTo>
                  <a:lnTo>
                    <a:pt x="2382" y="6914"/>
                  </a:lnTo>
                  <a:lnTo>
                    <a:pt x="2680" y="7471"/>
                  </a:lnTo>
                  <a:lnTo>
                    <a:pt x="3115" y="7935"/>
                  </a:lnTo>
                  <a:lnTo>
                    <a:pt x="3573" y="8213"/>
                  </a:lnTo>
                  <a:lnTo>
                    <a:pt x="4077" y="8654"/>
                  </a:lnTo>
                  <a:lnTo>
                    <a:pt x="4627" y="9002"/>
                  </a:lnTo>
                  <a:lnTo>
                    <a:pt x="5245" y="9234"/>
                  </a:lnTo>
                  <a:lnTo>
                    <a:pt x="6024" y="9443"/>
                  </a:lnTo>
                  <a:lnTo>
                    <a:pt x="6757" y="9628"/>
                  </a:lnTo>
                  <a:lnTo>
                    <a:pt x="5177" y="10069"/>
                  </a:lnTo>
                  <a:lnTo>
                    <a:pt x="3963" y="10649"/>
                  </a:lnTo>
                  <a:lnTo>
                    <a:pt x="3344" y="11044"/>
                  </a:lnTo>
                  <a:lnTo>
                    <a:pt x="2886" y="11600"/>
                  </a:lnTo>
                  <a:lnTo>
                    <a:pt x="2497" y="12041"/>
                  </a:lnTo>
                  <a:lnTo>
                    <a:pt x="1947" y="12343"/>
                  </a:lnTo>
                  <a:lnTo>
                    <a:pt x="1168" y="12668"/>
                  </a:lnTo>
                  <a:lnTo>
                    <a:pt x="0" y="12900"/>
                  </a:lnTo>
                  <a:lnTo>
                    <a:pt x="435" y="13248"/>
                  </a:lnTo>
                  <a:lnTo>
                    <a:pt x="779" y="13456"/>
                  </a:lnTo>
                  <a:lnTo>
                    <a:pt x="1283" y="13642"/>
                  </a:lnTo>
                  <a:lnTo>
                    <a:pt x="1718" y="13758"/>
                  </a:lnTo>
                  <a:lnTo>
                    <a:pt x="2680" y="13851"/>
                  </a:lnTo>
                  <a:lnTo>
                    <a:pt x="3573" y="13758"/>
                  </a:lnTo>
                  <a:lnTo>
                    <a:pt x="4512" y="13526"/>
                  </a:lnTo>
                  <a:lnTo>
                    <a:pt x="5360" y="13248"/>
                  </a:lnTo>
                  <a:lnTo>
                    <a:pt x="6139" y="12900"/>
                  </a:lnTo>
                  <a:lnTo>
                    <a:pt x="6757" y="12552"/>
                  </a:lnTo>
                  <a:lnTo>
                    <a:pt x="6459" y="13132"/>
                  </a:lnTo>
                  <a:lnTo>
                    <a:pt x="6139" y="13642"/>
                  </a:lnTo>
                  <a:lnTo>
                    <a:pt x="5910" y="14199"/>
                  </a:lnTo>
                  <a:lnTo>
                    <a:pt x="5681" y="14663"/>
                  </a:lnTo>
                  <a:lnTo>
                    <a:pt x="5681" y="15150"/>
                  </a:lnTo>
                  <a:lnTo>
                    <a:pt x="5681" y="15730"/>
                  </a:lnTo>
                  <a:lnTo>
                    <a:pt x="5681" y="16241"/>
                  </a:lnTo>
                  <a:lnTo>
                    <a:pt x="5795" y="16913"/>
                  </a:lnTo>
                  <a:lnTo>
                    <a:pt x="5910" y="17586"/>
                  </a:lnTo>
                  <a:lnTo>
                    <a:pt x="5910" y="18213"/>
                  </a:lnTo>
                  <a:lnTo>
                    <a:pt x="5795" y="18885"/>
                  </a:lnTo>
                  <a:lnTo>
                    <a:pt x="5566" y="19396"/>
                  </a:lnTo>
                  <a:lnTo>
                    <a:pt x="5245" y="19976"/>
                  </a:lnTo>
                  <a:lnTo>
                    <a:pt x="4971" y="20370"/>
                  </a:lnTo>
                  <a:lnTo>
                    <a:pt x="4512" y="20811"/>
                  </a:lnTo>
                  <a:lnTo>
                    <a:pt x="4077" y="21043"/>
                  </a:lnTo>
                  <a:lnTo>
                    <a:pt x="5177" y="20927"/>
                  </a:lnTo>
                  <a:lnTo>
                    <a:pt x="6253" y="20486"/>
                  </a:lnTo>
                  <a:lnTo>
                    <a:pt x="7421" y="19976"/>
                  </a:lnTo>
                  <a:lnTo>
                    <a:pt x="8361" y="19187"/>
                  </a:lnTo>
                  <a:lnTo>
                    <a:pt x="8819" y="18769"/>
                  </a:lnTo>
                  <a:lnTo>
                    <a:pt x="9139" y="18213"/>
                  </a:lnTo>
                  <a:lnTo>
                    <a:pt x="9437" y="17772"/>
                  </a:lnTo>
                  <a:lnTo>
                    <a:pt x="9643" y="17261"/>
                  </a:lnTo>
                  <a:lnTo>
                    <a:pt x="9872" y="16681"/>
                  </a:lnTo>
                  <a:lnTo>
                    <a:pt x="9872" y="16171"/>
                  </a:lnTo>
                  <a:lnTo>
                    <a:pt x="9872" y="15614"/>
                  </a:lnTo>
                  <a:lnTo>
                    <a:pt x="9758" y="15057"/>
                  </a:lnTo>
                  <a:lnTo>
                    <a:pt x="10216" y="15498"/>
                  </a:lnTo>
                  <a:lnTo>
                    <a:pt x="10537" y="16241"/>
                  </a:lnTo>
                  <a:lnTo>
                    <a:pt x="10834" y="17145"/>
                  </a:lnTo>
                  <a:lnTo>
                    <a:pt x="11041" y="18213"/>
                  </a:lnTo>
                  <a:lnTo>
                    <a:pt x="11155" y="19187"/>
                  </a:lnTo>
                  <a:lnTo>
                    <a:pt x="11155" y="20185"/>
                  </a:lnTo>
                  <a:lnTo>
                    <a:pt x="11155" y="20579"/>
                  </a:lnTo>
                  <a:lnTo>
                    <a:pt x="11041" y="21043"/>
                  </a:lnTo>
                  <a:lnTo>
                    <a:pt x="10926" y="21391"/>
                  </a:lnTo>
                  <a:lnTo>
                    <a:pt x="10766" y="21600"/>
                  </a:lnTo>
                  <a:lnTo>
                    <a:pt x="11499" y="21484"/>
                  </a:lnTo>
                  <a:lnTo>
                    <a:pt x="12323" y="21043"/>
                  </a:lnTo>
                  <a:lnTo>
                    <a:pt x="13102" y="20370"/>
                  </a:lnTo>
                  <a:lnTo>
                    <a:pt x="13606" y="19628"/>
                  </a:lnTo>
                  <a:lnTo>
                    <a:pt x="13950" y="19071"/>
                  </a:lnTo>
                  <a:lnTo>
                    <a:pt x="14064" y="18677"/>
                  </a:lnTo>
                  <a:lnTo>
                    <a:pt x="14179" y="18097"/>
                  </a:lnTo>
                  <a:lnTo>
                    <a:pt x="14293" y="17586"/>
                  </a:lnTo>
                  <a:lnTo>
                    <a:pt x="14179" y="16913"/>
                  </a:lnTo>
                  <a:lnTo>
                    <a:pt x="14064" y="16241"/>
                  </a:lnTo>
                  <a:lnTo>
                    <a:pt x="13835" y="15614"/>
                  </a:lnTo>
                  <a:lnTo>
                    <a:pt x="13560" y="14872"/>
                  </a:lnTo>
                  <a:lnTo>
                    <a:pt x="13950" y="14941"/>
                  </a:lnTo>
                  <a:lnTo>
                    <a:pt x="14408" y="15150"/>
                  </a:lnTo>
                  <a:lnTo>
                    <a:pt x="14843" y="15266"/>
                  </a:lnTo>
                  <a:lnTo>
                    <a:pt x="15232" y="15614"/>
                  </a:lnTo>
                  <a:lnTo>
                    <a:pt x="15576" y="15846"/>
                  </a:lnTo>
                  <a:lnTo>
                    <a:pt x="15897" y="16171"/>
                  </a:lnTo>
                  <a:lnTo>
                    <a:pt x="16126" y="16473"/>
                  </a:lnTo>
                  <a:lnTo>
                    <a:pt x="16240" y="16913"/>
                  </a:lnTo>
                  <a:lnTo>
                    <a:pt x="16515" y="17261"/>
                  </a:lnTo>
                  <a:lnTo>
                    <a:pt x="17088" y="17586"/>
                  </a:lnTo>
                  <a:lnTo>
                    <a:pt x="17798" y="17865"/>
                  </a:lnTo>
                  <a:lnTo>
                    <a:pt x="18576" y="18097"/>
                  </a:lnTo>
                  <a:lnTo>
                    <a:pt x="19424" y="18213"/>
                  </a:lnTo>
                  <a:lnTo>
                    <a:pt x="20317" y="18213"/>
                  </a:lnTo>
                  <a:lnTo>
                    <a:pt x="21050" y="18213"/>
                  </a:lnTo>
                  <a:lnTo>
                    <a:pt x="21600" y="17865"/>
                  </a:lnTo>
                  <a:lnTo>
                    <a:pt x="21165" y="17656"/>
                  </a:lnTo>
                  <a:lnTo>
                    <a:pt x="20592" y="17470"/>
                  </a:lnTo>
                  <a:lnTo>
                    <a:pt x="20088" y="17029"/>
                  </a:lnTo>
                  <a:lnTo>
                    <a:pt x="19653" y="16681"/>
                  </a:lnTo>
                  <a:lnTo>
                    <a:pt x="19195" y="16241"/>
                  </a:lnTo>
                  <a:lnTo>
                    <a:pt x="18920" y="15962"/>
                  </a:lnTo>
                  <a:lnTo>
                    <a:pt x="18576" y="15498"/>
                  </a:lnTo>
                  <a:lnTo>
                    <a:pt x="18576" y="15057"/>
                  </a:lnTo>
                  <a:lnTo>
                    <a:pt x="18485" y="14756"/>
                  </a:lnTo>
                  <a:lnTo>
                    <a:pt x="18256" y="14199"/>
                  </a:lnTo>
                  <a:lnTo>
                    <a:pt x="17912" y="13526"/>
                  </a:lnTo>
                  <a:lnTo>
                    <a:pt x="17523" y="13016"/>
                  </a:lnTo>
                  <a:lnTo>
                    <a:pt x="16973" y="12436"/>
                  </a:lnTo>
                  <a:lnTo>
                    <a:pt x="16355" y="12041"/>
                  </a:lnTo>
                  <a:lnTo>
                    <a:pt x="16011" y="11832"/>
                  </a:lnTo>
                  <a:lnTo>
                    <a:pt x="15690" y="11716"/>
                  </a:lnTo>
                  <a:lnTo>
                    <a:pt x="15232" y="11716"/>
                  </a:lnTo>
                  <a:lnTo>
                    <a:pt x="14843" y="11716"/>
                  </a:lnTo>
                  <a:lnTo>
                    <a:pt x="15461" y="11252"/>
                  </a:lnTo>
                  <a:lnTo>
                    <a:pt x="16126" y="10858"/>
                  </a:lnTo>
                  <a:lnTo>
                    <a:pt x="16973" y="10649"/>
                  </a:lnTo>
                  <a:lnTo>
                    <a:pt x="17798" y="10417"/>
                  </a:lnTo>
                  <a:lnTo>
                    <a:pt x="18806" y="10301"/>
                  </a:lnTo>
                  <a:lnTo>
                    <a:pt x="19653" y="10301"/>
                  </a:lnTo>
                  <a:lnTo>
                    <a:pt x="20478" y="10417"/>
                  </a:lnTo>
                  <a:lnTo>
                    <a:pt x="21256" y="10533"/>
                  </a:lnTo>
                  <a:lnTo>
                    <a:pt x="20707" y="9837"/>
                  </a:lnTo>
                  <a:lnTo>
                    <a:pt x="19859" y="9234"/>
                  </a:lnTo>
                  <a:lnTo>
                    <a:pt x="18806" y="8538"/>
                  </a:lnTo>
                  <a:lnTo>
                    <a:pt x="17637" y="8144"/>
                  </a:lnTo>
                  <a:lnTo>
                    <a:pt x="16973" y="8027"/>
                  </a:lnTo>
                  <a:lnTo>
                    <a:pt x="16355" y="7935"/>
                  </a:lnTo>
                  <a:lnTo>
                    <a:pt x="15805" y="7935"/>
                  </a:lnTo>
                  <a:lnTo>
                    <a:pt x="15118" y="8027"/>
                  </a:lnTo>
                  <a:lnTo>
                    <a:pt x="14614" y="8144"/>
                  </a:lnTo>
                  <a:lnTo>
                    <a:pt x="14064" y="8422"/>
                  </a:lnTo>
                  <a:lnTo>
                    <a:pt x="13606" y="8886"/>
                  </a:lnTo>
                  <a:lnTo>
                    <a:pt x="13217" y="9327"/>
                  </a:lnTo>
                  <a:lnTo>
                    <a:pt x="13606" y="8538"/>
                  </a:lnTo>
                  <a:lnTo>
                    <a:pt x="13950" y="7935"/>
                  </a:lnTo>
                  <a:lnTo>
                    <a:pt x="14293" y="7123"/>
                  </a:lnTo>
                  <a:lnTo>
                    <a:pt x="14499" y="6519"/>
                  </a:lnTo>
                  <a:lnTo>
                    <a:pt x="14614" y="5823"/>
                  </a:lnTo>
                  <a:lnTo>
                    <a:pt x="14614" y="5220"/>
                  </a:lnTo>
                  <a:lnTo>
                    <a:pt x="14408" y="4524"/>
                  </a:lnTo>
                  <a:lnTo>
                    <a:pt x="14064" y="3898"/>
                  </a:lnTo>
                  <a:lnTo>
                    <a:pt x="13606" y="3225"/>
                  </a:lnTo>
                  <a:lnTo>
                    <a:pt x="13331" y="2598"/>
                  </a:lnTo>
                  <a:lnTo>
                    <a:pt x="13102" y="2042"/>
                  </a:lnTo>
                  <a:lnTo>
                    <a:pt x="12896" y="1485"/>
                  </a:lnTo>
                  <a:lnTo>
                    <a:pt x="12781" y="1090"/>
                  </a:lnTo>
                  <a:lnTo>
                    <a:pt x="12667" y="626"/>
                  </a:lnTo>
                  <a:lnTo>
                    <a:pt x="12667" y="278"/>
                  </a:lnTo>
                  <a:lnTo>
                    <a:pt x="12667" y="0"/>
                  </a:lnTo>
                  <a:lnTo>
                    <a:pt x="12163" y="394"/>
                  </a:lnTo>
                  <a:lnTo>
                    <a:pt x="11728" y="974"/>
                  </a:lnTo>
                  <a:lnTo>
                    <a:pt x="11155" y="1601"/>
                  </a:lnTo>
                  <a:lnTo>
                    <a:pt x="10766" y="2390"/>
                  </a:lnTo>
                  <a:lnTo>
                    <a:pt x="10330" y="3109"/>
                  </a:lnTo>
                  <a:lnTo>
                    <a:pt x="10101" y="3898"/>
                  </a:lnTo>
                  <a:lnTo>
                    <a:pt x="9987" y="4524"/>
                  </a:lnTo>
                  <a:lnTo>
                    <a:pt x="10101" y="5220"/>
                  </a:lnTo>
                  <a:lnTo>
                    <a:pt x="10216" y="5823"/>
                  </a:lnTo>
                  <a:lnTo>
                    <a:pt x="10330" y="6403"/>
                  </a:lnTo>
                  <a:lnTo>
                    <a:pt x="10330" y="6914"/>
                  </a:lnTo>
                  <a:lnTo>
                    <a:pt x="10216" y="7471"/>
                  </a:lnTo>
                  <a:lnTo>
                    <a:pt x="10101" y="7935"/>
                  </a:lnTo>
                  <a:lnTo>
                    <a:pt x="9872" y="8329"/>
                  </a:lnTo>
                  <a:lnTo>
                    <a:pt x="9643" y="8654"/>
                  </a:lnTo>
                  <a:lnTo>
                    <a:pt x="9368" y="9002"/>
                  </a:lnTo>
                  <a:close/>
                </a:path>
              </a:pathLst>
            </a:custGeom>
            <a:solidFill>
              <a:srgbClr val="0080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107763" dir="2700000" algn="ctr" rotWithShape="0">
                <a:srgbClr val="808080"/>
              </a:outerShdw>
            </a:effectLst>
          </p:spPr>
          <p:txBody>
            <a:bodyPr/>
            <a:lstStyle/>
            <a:p>
              <a:pPr algn="ctr">
                <a:defRPr/>
              </a:pPr>
              <a:endParaRPr lang="en-US"/>
            </a:p>
          </p:txBody>
        </p:sp>
      </p:grpSp>
      <p:grpSp>
        <p:nvGrpSpPr>
          <p:cNvPr id="119820" name="Gruppieren 68"/>
          <p:cNvGrpSpPr>
            <a:grpSpLocks/>
          </p:cNvGrpSpPr>
          <p:nvPr/>
        </p:nvGrpSpPr>
        <p:grpSpPr bwMode="auto">
          <a:xfrm>
            <a:off x="6596063" y="4005263"/>
            <a:ext cx="352425" cy="1285875"/>
            <a:chOff x="1403648" y="3258716"/>
            <a:chExt cx="2168153" cy="2346895"/>
          </a:xfrm>
        </p:grpSpPr>
        <p:sp>
          <p:nvSpPr>
            <p:cNvPr id="119863" name="Freihandform 69"/>
            <p:cNvSpPr>
              <a:spLocks/>
            </p:cNvSpPr>
            <p:nvPr/>
          </p:nvSpPr>
          <p:spPr bwMode="auto">
            <a:xfrm>
              <a:off x="2347665" y="3573016"/>
              <a:ext cx="511969" cy="2032595"/>
            </a:xfrm>
            <a:custGeom>
              <a:avLst/>
              <a:gdLst>
                <a:gd name="T0" fmla="*/ 486871 w 161925"/>
                <a:gd name="T1" fmla="*/ 0 h 1209675"/>
                <a:gd name="T2" fmla="*/ 5018 w 161925"/>
                <a:gd name="T3" fmla="*/ 912267 h 1209675"/>
                <a:gd name="T4" fmla="*/ 456755 w 161925"/>
                <a:gd name="T5" fmla="*/ 1440421 h 1209675"/>
                <a:gd name="T6" fmla="*/ 336292 w 161925"/>
                <a:gd name="T7" fmla="*/ 2032595 h 120967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1925" h="1209675">
                  <a:moveTo>
                    <a:pt x="153987" y="0"/>
                  </a:moveTo>
                  <a:cubicBezTo>
                    <a:pt x="78580" y="200025"/>
                    <a:pt x="3174" y="400050"/>
                    <a:pt x="1587" y="542925"/>
                  </a:cubicBezTo>
                  <a:cubicBezTo>
                    <a:pt x="0" y="685800"/>
                    <a:pt x="127000" y="746125"/>
                    <a:pt x="144462" y="857250"/>
                  </a:cubicBezTo>
                  <a:cubicBezTo>
                    <a:pt x="161925" y="968375"/>
                    <a:pt x="134143" y="1089025"/>
                    <a:pt x="106362" y="1209675"/>
                  </a:cubicBezTo>
                </a:path>
              </a:pathLst>
            </a:custGeom>
            <a:noFill/>
            <a:ln w="76200" cap="flat" cmpd="sng" algn="ctr">
              <a:solidFill>
                <a:srgbClr val="008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anchor="ctr"/>
            <a:lstStyle/>
            <a:p>
              <a:endParaRPr lang="ru-RU"/>
            </a:p>
          </p:txBody>
        </p:sp>
        <p:sp>
          <p:nvSpPr>
            <p:cNvPr id="71" name="plant"/>
            <p:cNvSpPr>
              <a:spLocks noEditPoints="1" noChangeArrowheads="1"/>
            </p:cNvSpPr>
            <p:nvPr/>
          </p:nvSpPr>
          <p:spPr bwMode="auto">
            <a:xfrm>
              <a:off x="1403648" y="3258716"/>
              <a:ext cx="2168153" cy="1321215"/>
            </a:xfrm>
            <a:custGeom>
              <a:avLst/>
              <a:gdLst>
                <a:gd name="T0" fmla="*/ 0 w 21600"/>
                <a:gd name="T1" fmla="*/ 0 h 21600"/>
                <a:gd name="T2" fmla="*/ 10800 w 21600"/>
                <a:gd name="T3" fmla="*/ 0 h 21600"/>
                <a:gd name="T4" fmla="*/ 21600 w 21600"/>
                <a:gd name="T5" fmla="*/ 0 h 21600"/>
                <a:gd name="T6" fmla="*/ 21600 w 21600"/>
                <a:gd name="T7" fmla="*/ 10800 h 21600"/>
                <a:gd name="T8" fmla="*/ 21600 w 21600"/>
                <a:gd name="T9" fmla="*/ 21600 h 21600"/>
                <a:gd name="T10" fmla="*/ 10800 w 21600"/>
                <a:gd name="T11" fmla="*/ 21600 h 21600"/>
                <a:gd name="T12" fmla="*/ 0 w 21600"/>
                <a:gd name="T13" fmla="*/ 21600 h 21600"/>
                <a:gd name="T14" fmla="*/ 0 w 21600"/>
                <a:gd name="T15" fmla="*/ 10800 h 21600"/>
                <a:gd name="T16" fmla="*/ 7100 w 21600"/>
                <a:gd name="T17" fmla="*/ 10092 h 21600"/>
                <a:gd name="T18" fmla="*/ 14545 w 21600"/>
                <a:gd name="T19" fmla="*/ 13573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9368" y="9002"/>
                  </a:moveTo>
                  <a:lnTo>
                    <a:pt x="9254" y="8422"/>
                  </a:lnTo>
                  <a:lnTo>
                    <a:pt x="9139" y="7935"/>
                  </a:lnTo>
                  <a:lnTo>
                    <a:pt x="8819" y="7355"/>
                  </a:lnTo>
                  <a:lnTo>
                    <a:pt x="8475" y="6728"/>
                  </a:lnTo>
                  <a:lnTo>
                    <a:pt x="8040" y="6287"/>
                  </a:lnTo>
                  <a:lnTo>
                    <a:pt x="7421" y="5707"/>
                  </a:lnTo>
                  <a:lnTo>
                    <a:pt x="6574" y="5429"/>
                  </a:lnTo>
                  <a:lnTo>
                    <a:pt x="5452" y="5313"/>
                  </a:lnTo>
                  <a:lnTo>
                    <a:pt x="4856" y="5220"/>
                  </a:lnTo>
                  <a:lnTo>
                    <a:pt x="4169" y="5220"/>
                  </a:lnTo>
                  <a:lnTo>
                    <a:pt x="3665" y="5104"/>
                  </a:lnTo>
                  <a:lnTo>
                    <a:pt x="3001" y="4872"/>
                  </a:lnTo>
                  <a:lnTo>
                    <a:pt x="2497" y="4756"/>
                  </a:lnTo>
                  <a:lnTo>
                    <a:pt x="2062" y="4408"/>
                  </a:lnTo>
                  <a:lnTo>
                    <a:pt x="1603" y="4083"/>
                  </a:lnTo>
                  <a:lnTo>
                    <a:pt x="1283" y="3689"/>
                  </a:lnTo>
                  <a:lnTo>
                    <a:pt x="1283" y="4315"/>
                  </a:lnTo>
                  <a:lnTo>
                    <a:pt x="1489" y="5104"/>
                  </a:lnTo>
                  <a:lnTo>
                    <a:pt x="1832" y="6055"/>
                  </a:lnTo>
                  <a:lnTo>
                    <a:pt x="2382" y="6914"/>
                  </a:lnTo>
                  <a:lnTo>
                    <a:pt x="2680" y="7471"/>
                  </a:lnTo>
                  <a:lnTo>
                    <a:pt x="3115" y="7935"/>
                  </a:lnTo>
                  <a:lnTo>
                    <a:pt x="3573" y="8213"/>
                  </a:lnTo>
                  <a:lnTo>
                    <a:pt x="4077" y="8654"/>
                  </a:lnTo>
                  <a:lnTo>
                    <a:pt x="4627" y="9002"/>
                  </a:lnTo>
                  <a:lnTo>
                    <a:pt x="5245" y="9234"/>
                  </a:lnTo>
                  <a:lnTo>
                    <a:pt x="6024" y="9443"/>
                  </a:lnTo>
                  <a:lnTo>
                    <a:pt x="6757" y="9628"/>
                  </a:lnTo>
                  <a:lnTo>
                    <a:pt x="5177" y="10069"/>
                  </a:lnTo>
                  <a:lnTo>
                    <a:pt x="3963" y="10649"/>
                  </a:lnTo>
                  <a:lnTo>
                    <a:pt x="3344" y="11044"/>
                  </a:lnTo>
                  <a:lnTo>
                    <a:pt x="2886" y="11600"/>
                  </a:lnTo>
                  <a:lnTo>
                    <a:pt x="2497" y="12041"/>
                  </a:lnTo>
                  <a:lnTo>
                    <a:pt x="1947" y="12343"/>
                  </a:lnTo>
                  <a:lnTo>
                    <a:pt x="1168" y="12668"/>
                  </a:lnTo>
                  <a:lnTo>
                    <a:pt x="0" y="12900"/>
                  </a:lnTo>
                  <a:lnTo>
                    <a:pt x="435" y="13248"/>
                  </a:lnTo>
                  <a:lnTo>
                    <a:pt x="779" y="13456"/>
                  </a:lnTo>
                  <a:lnTo>
                    <a:pt x="1283" y="13642"/>
                  </a:lnTo>
                  <a:lnTo>
                    <a:pt x="1718" y="13758"/>
                  </a:lnTo>
                  <a:lnTo>
                    <a:pt x="2680" y="13851"/>
                  </a:lnTo>
                  <a:lnTo>
                    <a:pt x="3573" y="13758"/>
                  </a:lnTo>
                  <a:lnTo>
                    <a:pt x="4512" y="13526"/>
                  </a:lnTo>
                  <a:lnTo>
                    <a:pt x="5360" y="13248"/>
                  </a:lnTo>
                  <a:lnTo>
                    <a:pt x="6139" y="12900"/>
                  </a:lnTo>
                  <a:lnTo>
                    <a:pt x="6757" y="12552"/>
                  </a:lnTo>
                  <a:lnTo>
                    <a:pt x="6459" y="13132"/>
                  </a:lnTo>
                  <a:lnTo>
                    <a:pt x="6139" y="13642"/>
                  </a:lnTo>
                  <a:lnTo>
                    <a:pt x="5910" y="14199"/>
                  </a:lnTo>
                  <a:lnTo>
                    <a:pt x="5681" y="14663"/>
                  </a:lnTo>
                  <a:lnTo>
                    <a:pt x="5681" y="15150"/>
                  </a:lnTo>
                  <a:lnTo>
                    <a:pt x="5681" y="15730"/>
                  </a:lnTo>
                  <a:lnTo>
                    <a:pt x="5681" y="16241"/>
                  </a:lnTo>
                  <a:lnTo>
                    <a:pt x="5795" y="16913"/>
                  </a:lnTo>
                  <a:lnTo>
                    <a:pt x="5910" y="17586"/>
                  </a:lnTo>
                  <a:lnTo>
                    <a:pt x="5910" y="18213"/>
                  </a:lnTo>
                  <a:lnTo>
                    <a:pt x="5795" y="18885"/>
                  </a:lnTo>
                  <a:lnTo>
                    <a:pt x="5566" y="19396"/>
                  </a:lnTo>
                  <a:lnTo>
                    <a:pt x="5245" y="19976"/>
                  </a:lnTo>
                  <a:lnTo>
                    <a:pt x="4971" y="20370"/>
                  </a:lnTo>
                  <a:lnTo>
                    <a:pt x="4512" y="20811"/>
                  </a:lnTo>
                  <a:lnTo>
                    <a:pt x="4077" y="21043"/>
                  </a:lnTo>
                  <a:lnTo>
                    <a:pt x="5177" y="20927"/>
                  </a:lnTo>
                  <a:lnTo>
                    <a:pt x="6253" y="20486"/>
                  </a:lnTo>
                  <a:lnTo>
                    <a:pt x="7421" y="19976"/>
                  </a:lnTo>
                  <a:lnTo>
                    <a:pt x="8361" y="19187"/>
                  </a:lnTo>
                  <a:lnTo>
                    <a:pt x="8819" y="18769"/>
                  </a:lnTo>
                  <a:lnTo>
                    <a:pt x="9139" y="18213"/>
                  </a:lnTo>
                  <a:lnTo>
                    <a:pt x="9437" y="17772"/>
                  </a:lnTo>
                  <a:lnTo>
                    <a:pt x="9643" y="17261"/>
                  </a:lnTo>
                  <a:lnTo>
                    <a:pt x="9872" y="16681"/>
                  </a:lnTo>
                  <a:lnTo>
                    <a:pt x="9872" y="16171"/>
                  </a:lnTo>
                  <a:lnTo>
                    <a:pt x="9872" y="15614"/>
                  </a:lnTo>
                  <a:lnTo>
                    <a:pt x="9758" y="15057"/>
                  </a:lnTo>
                  <a:lnTo>
                    <a:pt x="10216" y="15498"/>
                  </a:lnTo>
                  <a:lnTo>
                    <a:pt x="10537" y="16241"/>
                  </a:lnTo>
                  <a:lnTo>
                    <a:pt x="10834" y="17145"/>
                  </a:lnTo>
                  <a:lnTo>
                    <a:pt x="11041" y="18213"/>
                  </a:lnTo>
                  <a:lnTo>
                    <a:pt x="11155" y="19187"/>
                  </a:lnTo>
                  <a:lnTo>
                    <a:pt x="11155" y="20185"/>
                  </a:lnTo>
                  <a:lnTo>
                    <a:pt x="11155" y="20579"/>
                  </a:lnTo>
                  <a:lnTo>
                    <a:pt x="11041" y="21043"/>
                  </a:lnTo>
                  <a:lnTo>
                    <a:pt x="10926" y="21391"/>
                  </a:lnTo>
                  <a:lnTo>
                    <a:pt x="10766" y="21600"/>
                  </a:lnTo>
                  <a:lnTo>
                    <a:pt x="11499" y="21484"/>
                  </a:lnTo>
                  <a:lnTo>
                    <a:pt x="12323" y="21043"/>
                  </a:lnTo>
                  <a:lnTo>
                    <a:pt x="13102" y="20370"/>
                  </a:lnTo>
                  <a:lnTo>
                    <a:pt x="13606" y="19628"/>
                  </a:lnTo>
                  <a:lnTo>
                    <a:pt x="13950" y="19071"/>
                  </a:lnTo>
                  <a:lnTo>
                    <a:pt x="14064" y="18677"/>
                  </a:lnTo>
                  <a:lnTo>
                    <a:pt x="14179" y="18097"/>
                  </a:lnTo>
                  <a:lnTo>
                    <a:pt x="14293" y="17586"/>
                  </a:lnTo>
                  <a:lnTo>
                    <a:pt x="14179" y="16913"/>
                  </a:lnTo>
                  <a:lnTo>
                    <a:pt x="14064" y="16241"/>
                  </a:lnTo>
                  <a:lnTo>
                    <a:pt x="13835" y="15614"/>
                  </a:lnTo>
                  <a:lnTo>
                    <a:pt x="13560" y="14872"/>
                  </a:lnTo>
                  <a:lnTo>
                    <a:pt x="13950" y="14941"/>
                  </a:lnTo>
                  <a:lnTo>
                    <a:pt x="14408" y="15150"/>
                  </a:lnTo>
                  <a:lnTo>
                    <a:pt x="14843" y="15266"/>
                  </a:lnTo>
                  <a:lnTo>
                    <a:pt x="15232" y="15614"/>
                  </a:lnTo>
                  <a:lnTo>
                    <a:pt x="15576" y="15846"/>
                  </a:lnTo>
                  <a:lnTo>
                    <a:pt x="15897" y="16171"/>
                  </a:lnTo>
                  <a:lnTo>
                    <a:pt x="16126" y="16473"/>
                  </a:lnTo>
                  <a:lnTo>
                    <a:pt x="16240" y="16913"/>
                  </a:lnTo>
                  <a:lnTo>
                    <a:pt x="16515" y="17261"/>
                  </a:lnTo>
                  <a:lnTo>
                    <a:pt x="17088" y="17586"/>
                  </a:lnTo>
                  <a:lnTo>
                    <a:pt x="17798" y="17865"/>
                  </a:lnTo>
                  <a:lnTo>
                    <a:pt x="18576" y="18097"/>
                  </a:lnTo>
                  <a:lnTo>
                    <a:pt x="19424" y="18213"/>
                  </a:lnTo>
                  <a:lnTo>
                    <a:pt x="20317" y="18213"/>
                  </a:lnTo>
                  <a:lnTo>
                    <a:pt x="21050" y="18213"/>
                  </a:lnTo>
                  <a:lnTo>
                    <a:pt x="21600" y="17865"/>
                  </a:lnTo>
                  <a:lnTo>
                    <a:pt x="21165" y="17656"/>
                  </a:lnTo>
                  <a:lnTo>
                    <a:pt x="20592" y="17470"/>
                  </a:lnTo>
                  <a:lnTo>
                    <a:pt x="20088" y="17029"/>
                  </a:lnTo>
                  <a:lnTo>
                    <a:pt x="19653" y="16681"/>
                  </a:lnTo>
                  <a:lnTo>
                    <a:pt x="19195" y="16241"/>
                  </a:lnTo>
                  <a:lnTo>
                    <a:pt x="18920" y="15962"/>
                  </a:lnTo>
                  <a:lnTo>
                    <a:pt x="18576" y="15498"/>
                  </a:lnTo>
                  <a:lnTo>
                    <a:pt x="18576" y="15057"/>
                  </a:lnTo>
                  <a:lnTo>
                    <a:pt x="18485" y="14756"/>
                  </a:lnTo>
                  <a:lnTo>
                    <a:pt x="18256" y="14199"/>
                  </a:lnTo>
                  <a:lnTo>
                    <a:pt x="17912" y="13526"/>
                  </a:lnTo>
                  <a:lnTo>
                    <a:pt x="17523" y="13016"/>
                  </a:lnTo>
                  <a:lnTo>
                    <a:pt x="16973" y="12436"/>
                  </a:lnTo>
                  <a:lnTo>
                    <a:pt x="16355" y="12041"/>
                  </a:lnTo>
                  <a:lnTo>
                    <a:pt x="16011" y="11832"/>
                  </a:lnTo>
                  <a:lnTo>
                    <a:pt x="15690" y="11716"/>
                  </a:lnTo>
                  <a:lnTo>
                    <a:pt x="15232" y="11716"/>
                  </a:lnTo>
                  <a:lnTo>
                    <a:pt x="14843" y="11716"/>
                  </a:lnTo>
                  <a:lnTo>
                    <a:pt x="15461" y="11252"/>
                  </a:lnTo>
                  <a:lnTo>
                    <a:pt x="16126" y="10858"/>
                  </a:lnTo>
                  <a:lnTo>
                    <a:pt x="16973" y="10649"/>
                  </a:lnTo>
                  <a:lnTo>
                    <a:pt x="17798" y="10417"/>
                  </a:lnTo>
                  <a:lnTo>
                    <a:pt x="18806" y="10301"/>
                  </a:lnTo>
                  <a:lnTo>
                    <a:pt x="19653" y="10301"/>
                  </a:lnTo>
                  <a:lnTo>
                    <a:pt x="20478" y="10417"/>
                  </a:lnTo>
                  <a:lnTo>
                    <a:pt x="21256" y="10533"/>
                  </a:lnTo>
                  <a:lnTo>
                    <a:pt x="20707" y="9837"/>
                  </a:lnTo>
                  <a:lnTo>
                    <a:pt x="19859" y="9234"/>
                  </a:lnTo>
                  <a:lnTo>
                    <a:pt x="18806" y="8538"/>
                  </a:lnTo>
                  <a:lnTo>
                    <a:pt x="17637" y="8144"/>
                  </a:lnTo>
                  <a:lnTo>
                    <a:pt x="16973" y="8027"/>
                  </a:lnTo>
                  <a:lnTo>
                    <a:pt x="16355" y="7935"/>
                  </a:lnTo>
                  <a:lnTo>
                    <a:pt x="15805" y="7935"/>
                  </a:lnTo>
                  <a:lnTo>
                    <a:pt x="15118" y="8027"/>
                  </a:lnTo>
                  <a:lnTo>
                    <a:pt x="14614" y="8144"/>
                  </a:lnTo>
                  <a:lnTo>
                    <a:pt x="14064" y="8422"/>
                  </a:lnTo>
                  <a:lnTo>
                    <a:pt x="13606" y="8886"/>
                  </a:lnTo>
                  <a:lnTo>
                    <a:pt x="13217" y="9327"/>
                  </a:lnTo>
                  <a:lnTo>
                    <a:pt x="13606" y="8538"/>
                  </a:lnTo>
                  <a:lnTo>
                    <a:pt x="13950" y="7935"/>
                  </a:lnTo>
                  <a:lnTo>
                    <a:pt x="14293" y="7123"/>
                  </a:lnTo>
                  <a:lnTo>
                    <a:pt x="14499" y="6519"/>
                  </a:lnTo>
                  <a:lnTo>
                    <a:pt x="14614" y="5823"/>
                  </a:lnTo>
                  <a:lnTo>
                    <a:pt x="14614" y="5220"/>
                  </a:lnTo>
                  <a:lnTo>
                    <a:pt x="14408" y="4524"/>
                  </a:lnTo>
                  <a:lnTo>
                    <a:pt x="14064" y="3898"/>
                  </a:lnTo>
                  <a:lnTo>
                    <a:pt x="13606" y="3225"/>
                  </a:lnTo>
                  <a:lnTo>
                    <a:pt x="13331" y="2598"/>
                  </a:lnTo>
                  <a:lnTo>
                    <a:pt x="13102" y="2042"/>
                  </a:lnTo>
                  <a:lnTo>
                    <a:pt x="12896" y="1485"/>
                  </a:lnTo>
                  <a:lnTo>
                    <a:pt x="12781" y="1090"/>
                  </a:lnTo>
                  <a:lnTo>
                    <a:pt x="12667" y="626"/>
                  </a:lnTo>
                  <a:lnTo>
                    <a:pt x="12667" y="278"/>
                  </a:lnTo>
                  <a:lnTo>
                    <a:pt x="12667" y="0"/>
                  </a:lnTo>
                  <a:lnTo>
                    <a:pt x="12163" y="394"/>
                  </a:lnTo>
                  <a:lnTo>
                    <a:pt x="11728" y="974"/>
                  </a:lnTo>
                  <a:lnTo>
                    <a:pt x="11155" y="1601"/>
                  </a:lnTo>
                  <a:lnTo>
                    <a:pt x="10766" y="2390"/>
                  </a:lnTo>
                  <a:lnTo>
                    <a:pt x="10330" y="3109"/>
                  </a:lnTo>
                  <a:lnTo>
                    <a:pt x="10101" y="3898"/>
                  </a:lnTo>
                  <a:lnTo>
                    <a:pt x="9987" y="4524"/>
                  </a:lnTo>
                  <a:lnTo>
                    <a:pt x="10101" y="5220"/>
                  </a:lnTo>
                  <a:lnTo>
                    <a:pt x="10216" y="5823"/>
                  </a:lnTo>
                  <a:lnTo>
                    <a:pt x="10330" y="6403"/>
                  </a:lnTo>
                  <a:lnTo>
                    <a:pt x="10330" y="6914"/>
                  </a:lnTo>
                  <a:lnTo>
                    <a:pt x="10216" y="7471"/>
                  </a:lnTo>
                  <a:lnTo>
                    <a:pt x="10101" y="7935"/>
                  </a:lnTo>
                  <a:lnTo>
                    <a:pt x="9872" y="8329"/>
                  </a:lnTo>
                  <a:lnTo>
                    <a:pt x="9643" y="8654"/>
                  </a:lnTo>
                  <a:lnTo>
                    <a:pt x="9368" y="9002"/>
                  </a:lnTo>
                  <a:close/>
                </a:path>
              </a:pathLst>
            </a:custGeom>
            <a:solidFill>
              <a:srgbClr val="0080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107763" dir="2700000" algn="ctr" rotWithShape="0">
                <a:srgbClr val="808080"/>
              </a:outerShdw>
            </a:effectLst>
          </p:spPr>
          <p:txBody>
            <a:bodyPr/>
            <a:lstStyle/>
            <a:p>
              <a:pPr algn="ctr">
                <a:defRPr/>
              </a:pPr>
              <a:endParaRPr lang="en-US"/>
            </a:p>
          </p:txBody>
        </p:sp>
      </p:grpSp>
      <p:grpSp>
        <p:nvGrpSpPr>
          <p:cNvPr id="119821" name="Gruppieren 71"/>
          <p:cNvGrpSpPr>
            <a:grpSpLocks/>
          </p:cNvGrpSpPr>
          <p:nvPr/>
        </p:nvGrpSpPr>
        <p:grpSpPr bwMode="auto">
          <a:xfrm>
            <a:off x="6667500" y="4005263"/>
            <a:ext cx="352425" cy="1285875"/>
            <a:chOff x="1403648" y="3258716"/>
            <a:chExt cx="2168153" cy="2346895"/>
          </a:xfrm>
        </p:grpSpPr>
        <p:sp>
          <p:nvSpPr>
            <p:cNvPr id="119861" name="Freihandform 72"/>
            <p:cNvSpPr>
              <a:spLocks/>
            </p:cNvSpPr>
            <p:nvPr/>
          </p:nvSpPr>
          <p:spPr bwMode="auto">
            <a:xfrm>
              <a:off x="2347665" y="3573016"/>
              <a:ext cx="511969" cy="2032595"/>
            </a:xfrm>
            <a:custGeom>
              <a:avLst/>
              <a:gdLst>
                <a:gd name="T0" fmla="*/ 486871 w 161925"/>
                <a:gd name="T1" fmla="*/ 0 h 1209675"/>
                <a:gd name="T2" fmla="*/ 5018 w 161925"/>
                <a:gd name="T3" fmla="*/ 912267 h 1209675"/>
                <a:gd name="T4" fmla="*/ 456755 w 161925"/>
                <a:gd name="T5" fmla="*/ 1440421 h 1209675"/>
                <a:gd name="T6" fmla="*/ 336292 w 161925"/>
                <a:gd name="T7" fmla="*/ 2032595 h 120967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1925" h="1209675">
                  <a:moveTo>
                    <a:pt x="153987" y="0"/>
                  </a:moveTo>
                  <a:cubicBezTo>
                    <a:pt x="78580" y="200025"/>
                    <a:pt x="3174" y="400050"/>
                    <a:pt x="1587" y="542925"/>
                  </a:cubicBezTo>
                  <a:cubicBezTo>
                    <a:pt x="0" y="685800"/>
                    <a:pt x="127000" y="746125"/>
                    <a:pt x="144462" y="857250"/>
                  </a:cubicBezTo>
                  <a:cubicBezTo>
                    <a:pt x="161925" y="968375"/>
                    <a:pt x="134143" y="1089025"/>
                    <a:pt x="106362" y="1209675"/>
                  </a:cubicBezTo>
                </a:path>
              </a:pathLst>
            </a:custGeom>
            <a:noFill/>
            <a:ln w="76200" cap="flat" cmpd="sng" algn="ctr">
              <a:solidFill>
                <a:srgbClr val="008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anchor="ctr"/>
            <a:lstStyle/>
            <a:p>
              <a:endParaRPr lang="ru-RU"/>
            </a:p>
          </p:txBody>
        </p:sp>
        <p:sp>
          <p:nvSpPr>
            <p:cNvPr id="74" name="plant"/>
            <p:cNvSpPr>
              <a:spLocks noEditPoints="1" noChangeArrowheads="1"/>
            </p:cNvSpPr>
            <p:nvPr/>
          </p:nvSpPr>
          <p:spPr bwMode="auto">
            <a:xfrm>
              <a:off x="1403648" y="3258716"/>
              <a:ext cx="2168153" cy="1321215"/>
            </a:xfrm>
            <a:custGeom>
              <a:avLst/>
              <a:gdLst>
                <a:gd name="T0" fmla="*/ 0 w 21600"/>
                <a:gd name="T1" fmla="*/ 0 h 21600"/>
                <a:gd name="T2" fmla="*/ 10800 w 21600"/>
                <a:gd name="T3" fmla="*/ 0 h 21600"/>
                <a:gd name="T4" fmla="*/ 21600 w 21600"/>
                <a:gd name="T5" fmla="*/ 0 h 21600"/>
                <a:gd name="T6" fmla="*/ 21600 w 21600"/>
                <a:gd name="T7" fmla="*/ 10800 h 21600"/>
                <a:gd name="T8" fmla="*/ 21600 w 21600"/>
                <a:gd name="T9" fmla="*/ 21600 h 21600"/>
                <a:gd name="T10" fmla="*/ 10800 w 21600"/>
                <a:gd name="T11" fmla="*/ 21600 h 21600"/>
                <a:gd name="T12" fmla="*/ 0 w 21600"/>
                <a:gd name="T13" fmla="*/ 21600 h 21600"/>
                <a:gd name="T14" fmla="*/ 0 w 21600"/>
                <a:gd name="T15" fmla="*/ 10800 h 21600"/>
                <a:gd name="T16" fmla="*/ 7100 w 21600"/>
                <a:gd name="T17" fmla="*/ 10092 h 21600"/>
                <a:gd name="T18" fmla="*/ 14545 w 21600"/>
                <a:gd name="T19" fmla="*/ 13573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9368" y="9002"/>
                  </a:moveTo>
                  <a:lnTo>
                    <a:pt x="9254" y="8422"/>
                  </a:lnTo>
                  <a:lnTo>
                    <a:pt x="9139" y="7935"/>
                  </a:lnTo>
                  <a:lnTo>
                    <a:pt x="8819" y="7355"/>
                  </a:lnTo>
                  <a:lnTo>
                    <a:pt x="8475" y="6728"/>
                  </a:lnTo>
                  <a:lnTo>
                    <a:pt x="8040" y="6287"/>
                  </a:lnTo>
                  <a:lnTo>
                    <a:pt x="7421" y="5707"/>
                  </a:lnTo>
                  <a:lnTo>
                    <a:pt x="6574" y="5429"/>
                  </a:lnTo>
                  <a:lnTo>
                    <a:pt x="5452" y="5313"/>
                  </a:lnTo>
                  <a:lnTo>
                    <a:pt x="4856" y="5220"/>
                  </a:lnTo>
                  <a:lnTo>
                    <a:pt x="4169" y="5220"/>
                  </a:lnTo>
                  <a:lnTo>
                    <a:pt x="3665" y="5104"/>
                  </a:lnTo>
                  <a:lnTo>
                    <a:pt x="3001" y="4872"/>
                  </a:lnTo>
                  <a:lnTo>
                    <a:pt x="2497" y="4756"/>
                  </a:lnTo>
                  <a:lnTo>
                    <a:pt x="2062" y="4408"/>
                  </a:lnTo>
                  <a:lnTo>
                    <a:pt x="1603" y="4083"/>
                  </a:lnTo>
                  <a:lnTo>
                    <a:pt x="1283" y="3689"/>
                  </a:lnTo>
                  <a:lnTo>
                    <a:pt x="1283" y="4315"/>
                  </a:lnTo>
                  <a:lnTo>
                    <a:pt x="1489" y="5104"/>
                  </a:lnTo>
                  <a:lnTo>
                    <a:pt x="1832" y="6055"/>
                  </a:lnTo>
                  <a:lnTo>
                    <a:pt x="2382" y="6914"/>
                  </a:lnTo>
                  <a:lnTo>
                    <a:pt x="2680" y="7471"/>
                  </a:lnTo>
                  <a:lnTo>
                    <a:pt x="3115" y="7935"/>
                  </a:lnTo>
                  <a:lnTo>
                    <a:pt x="3573" y="8213"/>
                  </a:lnTo>
                  <a:lnTo>
                    <a:pt x="4077" y="8654"/>
                  </a:lnTo>
                  <a:lnTo>
                    <a:pt x="4627" y="9002"/>
                  </a:lnTo>
                  <a:lnTo>
                    <a:pt x="5245" y="9234"/>
                  </a:lnTo>
                  <a:lnTo>
                    <a:pt x="6024" y="9443"/>
                  </a:lnTo>
                  <a:lnTo>
                    <a:pt x="6757" y="9628"/>
                  </a:lnTo>
                  <a:lnTo>
                    <a:pt x="5177" y="10069"/>
                  </a:lnTo>
                  <a:lnTo>
                    <a:pt x="3963" y="10649"/>
                  </a:lnTo>
                  <a:lnTo>
                    <a:pt x="3344" y="11044"/>
                  </a:lnTo>
                  <a:lnTo>
                    <a:pt x="2886" y="11600"/>
                  </a:lnTo>
                  <a:lnTo>
                    <a:pt x="2497" y="12041"/>
                  </a:lnTo>
                  <a:lnTo>
                    <a:pt x="1947" y="12343"/>
                  </a:lnTo>
                  <a:lnTo>
                    <a:pt x="1168" y="12668"/>
                  </a:lnTo>
                  <a:lnTo>
                    <a:pt x="0" y="12900"/>
                  </a:lnTo>
                  <a:lnTo>
                    <a:pt x="435" y="13248"/>
                  </a:lnTo>
                  <a:lnTo>
                    <a:pt x="779" y="13456"/>
                  </a:lnTo>
                  <a:lnTo>
                    <a:pt x="1283" y="13642"/>
                  </a:lnTo>
                  <a:lnTo>
                    <a:pt x="1718" y="13758"/>
                  </a:lnTo>
                  <a:lnTo>
                    <a:pt x="2680" y="13851"/>
                  </a:lnTo>
                  <a:lnTo>
                    <a:pt x="3573" y="13758"/>
                  </a:lnTo>
                  <a:lnTo>
                    <a:pt x="4512" y="13526"/>
                  </a:lnTo>
                  <a:lnTo>
                    <a:pt x="5360" y="13248"/>
                  </a:lnTo>
                  <a:lnTo>
                    <a:pt x="6139" y="12900"/>
                  </a:lnTo>
                  <a:lnTo>
                    <a:pt x="6757" y="12552"/>
                  </a:lnTo>
                  <a:lnTo>
                    <a:pt x="6459" y="13132"/>
                  </a:lnTo>
                  <a:lnTo>
                    <a:pt x="6139" y="13642"/>
                  </a:lnTo>
                  <a:lnTo>
                    <a:pt x="5910" y="14199"/>
                  </a:lnTo>
                  <a:lnTo>
                    <a:pt x="5681" y="14663"/>
                  </a:lnTo>
                  <a:lnTo>
                    <a:pt x="5681" y="15150"/>
                  </a:lnTo>
                  <a:lnTo>
                    <a:pt x="5681" y="15730"/>
                  </a:lnTo>
                  <a:lnTo>
                    <a:pt x="5681" y="16241"/>
                  </a:lnTo>
                  <a:lnTo>
                    <a:pt x="5795" y="16913"/>
                  </a:lnTo>
                  <a:lnTo>
                    <a:pt x="5910" y="17586"/>
                  </a:lnTo>
                  <a:lnTo>
                    <a:pt x="5910" y="18213"/>
                  </a:lnTo>
                  <a:lnTo>
                    <a:pt x="5795" y="18885"/>
                  </a:lnTo>
                  <a:lnTo>
                    <a:pt x="5566" y="19396"/>
                  </a:lnTo>
                  <a:lnTo>
                    <a:pt x="5245" y="19976"/>
                  </a:lnTo>
                  <a:lnTo>
                    <a:pt x="4971" y="20370"/>
                  </a:lnTo>
                  <a:lnTo>
                    <a:pt x="4512" y="20811"/>
                  </a:lnTo>
                  <a:lnTo>
                    <a:pt x="4077" y="21043"/>
                  </a:lnTo>
                  <a:lnTo>
                    <a:pt x="5177" y="20927"/>
                  </a:lnTo>
                  <a:lnTo>
                    <a:pt x="6253" y="20486"/>
                  </a:lnTo>
                  <a:lnTo>
                    <a:pt x="7421" y="19976"/>
                  </a:lnTo>
                  <a:lnTo>
                    <a:pt x="8361" y="19187"/>
                  </a:lnTo>
                  <a:lnTo>
                    <a:pt x="8819" y="18769"/>
                  </a:lnTo>
                  <a:lnTo>
                    <a:pt x="9139" y="18213"/>
                  </a:lnTo>
                  <a:lnTo>
                    <a:pt x="9437" y="17772"/>
                  </a:lnTo>
                  <a:lnTo>
                    <a:pt x="9643" y="17261"/>
                  </a:lnTo>
                  <a:lnTo>
                    <a:pt x="9872" y="16681"/>
                  </a:lnTo>
                  <a:lnTo>
                    <a:pt x="9872" y="16171"/>
                  </a:lnTo>
                  <a:lnTo>
                    <a:pt x="9872" y="15614"/>
                  </a:lnTo>
                  <a:lnTo>
                    <a:pt x="9758" y="15057"/>
                  </a:lnTo>
                  <a:lnTo>
                    <a:pt x="10216" y="15498"/>
                  </a:lnTo>
                  <a:lnTo>
                    <a:pt x="10537" y="16241"/>
                  </a:lnTo>
                  <a:lnTo>
                    <a:pt x="10834" y="17145"/>
                  </a:lnTo>
                  <a:lnTo>
                    <a:pt x="11041" y="18213"/>
                  </a:lnTo>
                  <a:lnTo>
                    <a:pt x="11155" y="19187"/>
                  </a:lnTo>
                  <a:lnTo>
                    <a:pt x="11155" y="20185"/>
                  </a:lnTo>
                  <a:lnTo>
                    <a:pt x="11155" y="20579"/>
                  </a:lnTo>
                  <a:lnTo>
                    <a:pt x="11041" y="21043"/>
                  </a:lnTo>
                  <a:lnTo>
                    <a:pt x="10926" y="21391"/>
                  </a:lnTo>
                  <a:lnTo>
                    <a:pt x="10766" y="21600"/>
                  </a:lnTo>
                  <a:lnTo>
                    <a:pt x="11499" y="21484"/>
                  </a:lnTo>
                  <a:lnTo>
                    <a:pt x="12323" y="21043"/>
                  </a:lnTo>
                  <a:lnTo>
                    <a:pt x="13102" y="20370"/>
                  </a:lnTo>
                  <a:lnTo>
                    <a:pt x="13606" y="19628"/>
                  </a:lnTo>
                  <a:lnTo>
                    <a:pt x="13950" y="19071"/>
                  </a:lnTo>
                  <a:lnTo>
                    <a:pt x="14064" y="18677"/>
                  </a:lnTo>
                  <a:lnTo>
                    <a:pt x="14179" y="18097"/>
                  </a:lnTo>
                  <a:lnTo>
                    <a:pt x="14293" y="17586"/>
                  </a:lnTo>
                  <a:lnTo>
                    <a:pt x="14179" y="16913"/>
                  </a:lnTo>
                  <a:lnTo>
                    <a:pt x="14064" y="16241"/>
                  </a:lnTo>
                  <a:lnTo>
                    <a:pt x="13835" y="15614"/>
                  </a:lnTo>
                  <a:lnTo>
                    <a:pt x="13560" y="14872"/>
                  </a:lnTo>
                  <a:lnTo>
                    <a:pt x="13950" y="14941"/>
                  </a:lnTo>
                  <a:lnTo>
                    <a:pt x="14408" y="15150"/>
                  </a:lnTo>
                  <a:lnTo>
                    <a:pt x="14843" y="15266"/>
                  </a:lnTo>
                  <a:lnTo>
                    <a:pt x="15232" y="15614"/>
                  </a:lnTo>
                  <a:lnTo>
                    <a:pt x="15576" y="15846"/>
                  </a:lnTo>
                  <a:lnTo>
                    <a:pt x="15897" y="16171"/>
                  </a:lnTo>
                  <a:lnTo>
                    <a:pt x="16126" y="16473"/>
                  </a:lnTo>
                  <a:lnTo>
                    <a:pt x="16240" y="16913"/>
                  </a:lnTo>
                  <a:lnTo>
                    <a:pt x="16515" y="17261"/>
                  </a:lnTo>
                  <a:lnTo>
                    <a:pt x="17088" y="17586"/>
                  </a:lnTo>
                  <a:lnTo>
                    <a:pt x="17798" y="17865"/>
                  </a:lnTo>
                  <a:lnTo>
                    <a:pt x="18576" y="18097"/>
                  </a:lnTo>
                  <a:lnTo>
                    <a:pt x="19424" y="18213"/>
                  </a:lnTo>
                  <a:lnTo>
                    <a:pt x="20317" y="18213"/>
                  </a:lnTo>
                  <a:lnTo>
                    <a:pt x="21050" y="18213"/>
                  </a:lnTo>
                  <a:lnTo>
                    <a:pt x="21600" y="17865"/>
                  </a:lnTo>
                  <a:lnTo>
                    <a:pt x="21165" y="17656"/>
                  </a:lnTo>
                  <a:lnTo>
                    <a:pt x="20592" y="17470"/>
                  </a:lnTo>
                  <a:lnTo>
                    <a:pt x="20088" y="17029"/>
                  </a:lnTo>
                  <a:lnTo>
                    <a:pt x="19653" y="16681"/>
                  </a:lnTo>
                  <a:lnTo>
                    <a:pt x="19195" y="16241"/>
                  </a:lnTo>
                  <a:lnTo>
                    <a:pt x="18920" y="15962"/>
                  </a:lnTo>
                  <a:lnTo>
                    <a:pt x="18576" y="15498"/>
                  </a:lnTo>
                  <a:lnTo>
                    <a:pt x="18576" y="15057"/>
                  </a:lnTo>
                  <a:lnTo>
                    <a:pt x="18485" y="14756"/>
                  </a:lnTo>
                  <a:lnTo>
                    <a:pt x="18256" y="14199"/>
                  </a:lnTo>
                  <a:lnTo>
                    <a:pt x="17912" y="13526"/>
                  </a:lnTo>
                  <a:lnTo>
                    <a:pt x="17523" y="13016"/>
                  </a:lnTo>
                  <a:lnTo>
                    <a:pt x="16973" y="12436"/>
                  </a:lnTo>
                  <a:lnTo>
                    <a:pt x="16355" y="12041"/>
                  </a:lnTo>
                  <a:lnTo>
                    <a:pt x="16011" y="11832"/>
                  </a:lnTo>
                  <a:lnTo>
                    <a:pt x="15690" y="11716"/>
                  </a:lnTo>
                  <a:lnTo>
                    <a:pt x="15232" y="11716"/>
                  </a:lnTo>
                  <a:lnTo>
                    <a:pt x="14843" y="11716"/>
                  </a:lnTo>
                  <a:lnTo>
                    <a:pt x="15461" y="11252"/>
                  </a:lnTo>
                  <a:lnTo>
                    <a:pt x="16126" y="10858"/>
                  </a:lnTo>
                  <a:lnTo>
                    <a:pt x="16973" y="10649"/>
                  </a:lnTo>
                  <a:lnTo>
                    <a:pt x="17798" y="10417"/>
                  </a:lnTo>
                  <a:lnTo>
                    <a:pt x="18806" y="10301"/>
                  </a:lnTo>
                  <a:lnTo>
                    <a:pt x="19653" y="10301"/>
                  </a:lnTo>
                  <a:lnTo>
                    <a:pt x="20478" y="10417"/>
                  </a:lnTo>
                  <a:lnTo>
                    <a:pt x="21256" y="10533"/>
                  </a:lnTo>
                  <a:lnTo>
                    <a:pt x="20707" y="9837"/>
                  </a:lnTo>
                  <a:lnTo>
                    <a:pt x="19859" y="9234"/>
                  </a:lnTo>
                  <a:lnTo>
                    <a:pt x="18806" y="8538"/>
                  </a:lnTo>
                  <a:lnTo>
                    <a:pt x="17637" y="8144"/>
                  </a:lnTo>
                  <a:lnTo>
                    <a:pt x="16973" y="8027"/>
                  </a:lnTo>
                  <a:lnTo>
                    <a:pt x="16355" y="7935"/>
                  </a:lnTo>
                  <a:lnTo>
                    <a:pt x="15805" y="7935"/>
                  </a:lnTo>
                  <a:lnTo>
                    <a:pt x="15118" y="8027"/>
                  </a:lnTo>
                  <a:lnTo>
                    <a:pt x="14614" y="8144"/>
                  </a:lnTo>
                  <a:lnTo>
                    <a:pt x="14064" y="8422"/>
                  </a:lnTo>
                  <a:lnTo>
                    <a:pt x="13606" y="8886"/>
                  </a:lnTo>
                  <a:lnTo>
                    <a:pt x="13217" y="9327"/>
                  </a:lnTo>
                  <a:lnTo>
                    <a:pt x="13606" y="8538"/>
                  </a:lnTo>
                  <a:lnTo>
                    <a:pt x="13950" y="7935"/>
                  </a:lnTo>
                  <a:lnTo>
                    <a:pt x="14293" y="7123"/>
                  </a:lnTo>
                  <a:lnTo>
                    <a:pt x="14499" y="6519"/>
                  </a:lnTo>
                  <a:lnTo>
                    <a:pt x="14614" y="5823"/>
                  </a:lnTo>
                  <a:lnTo>
                    <a:pt x="14614" y="5220"/>
                  </a:lnTo>
                  <a:lnTo>
                    <a:pt x="14408" y="4524"/>
                  </a:lnTo>
                  <a:lnTo>
                    <a:pt x="14064" y="3898"/>
                  </a:lnTo>
                  <a:lnTo>
                    <a:pt x="13606" y="3225"/>
                  </a:lnTo>
                  <a:lnTo>
                    <a:pt x="13331" y="2598"/>
                  </a:lnTo>
                  <a:lnTo>
                    <a:pt x="13102" y="2042"/>
                  </a:lnTo>
                  <a:lnTo>
                    <a:pt x="12896" y="1485"/>
                  </a:lnTo>
                  <a:lnTo>
                    <a:pt x="12781" y="1090"/>
                  </a:lnTo>
                  <a:lnTo>
                    <a:pt x="12667" y="626"/>
                  </a:lnTo>
                  <a:lnTo>
                    <a:pt x="12667" y="278"/>
                  </a:lnTo>
                  <a:lnTo>
                    <a:pt x="12667" y="0"/>
                  </a:lnTo>
                  <a:lnTo>
                    <a:pt x="12163" y="394"/>
                  </a:lnTo>
                  <a:lnTo>
                    <a:pt x="11728" y="974"/>
                  </a:lnTo>
                  <a:lnTo>
                    <a:pt x="11155" y="1601"/>
                  </a:lnTo>
                  <a:lnTo>
                    <a:pt x="10766" y="2390"/>
                  </a:lnTo>
                  <a:lnTo>
                    <a:pt x="10330" y="3109"/>
                  </a:lnTo>
                  <a:lnTo>
                    <a:pt x="10101" y="3898"/>
                  </a:lnTo>
                  <a:lnTo>
                    <a:pt x="9987" y="4524"/>
                  </a:lnTo>
                  <a:lnTo>
                    <a:pt x="10101" y="5220"/>
                  </a:lnTo>
                  <a:lnTo>
                    <a:pt x="10216" y="5823"/>
                  </a:lnTo>
                  <a:lnTo>
                    <a:pt x="10330" y="6403"/>
                  </a:lnTo>
                  <a:lnTo>
                    <a:pt x="10330" y="6914"/>
                  </a:lnTo>
                  <a:lnTo>
                    <a:pt x="10216" y="7471"/>
                  </a:lnTo>
                  <a:lnTo>
                    <a:pt x="10101" y="7935"/>
                  </a:lnTo>
                  <a:lnTo>
                    <a:pt x="9872" y="8329"/>
                  </a:lnTo>
                  <a:lnTo>
                    <a:pt x="9643" y="8654"/>
                  </a:lnTo>
                  <a:lnTo>
                    <a:pt x="9368" y="9002"/>
                  </a:lnTo>
                  <a:close/>
                </a:path>
              </a:pathLst>
            </a:custGeom>
            <a:solidFill>
              <a:srgbClr val="0080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107763" dir="2700000" algn="ctr" rotWithShape="0">
                <a:srgbClr val="808080"/>
              </a:outerShdw>
            </a:effectLst>
          </p:spPr>
          <p:txBody>
            <a:bodyPr/>
            <a:lstStyle/>
            <a:p>
              <a:pPr algn="ctr">
                <a:defRPr/>
              </a:pPr>
              <a:endParaRPr lang="en-US"/>
            </a:p>
          </p:txBody>
        </p:sp>
      </p:grpSp>
      <p:grpSp>
        <p:nvGrpSpPr>
          <p:cNvPr id="119822" name="Gruppieren 74"/>
          <p:cNvGrpSpPr>
            <a:grpSpLocks/>
          </p:cNvGrpSpPr>
          <p:nvPr/>
        </p:nvGrpSpPr>
        <p:grpSpPr bwMode="auto">
          <a:xfrm>
            <a:off x="7604125" y="4005263"/>
            <a:ext cx="352425" cy="1285875"/>
            <a:chOff x="1403648" y="3258716"/>
            <a:chExt cx="2168153" cy="2346895"/>
          </a:xfrm>
        </p:grpSpPr>
        <p:sp>
          <p:nvSpPr>
            <p:cNvPr id="119859" name="Freihandform 75"/>
            <p:cNvSpPr>
              <a:spLocks/>
            </p:cNvSpPr>
            <p:nvPr/>
          </p:nvSpPr>
          <p:spPr bwMode="auto">
            <a:xfrm>
              <a:off x="2347665" y="3573016"/>
              <a:ext cx="511969" cy="2032595"/>
            </a:xfrm>
            <a:custGeom>
              <a:avLst/>
              <a:gdLst>
                <a:gd name="T0" fmla="*/ 486871 w 161925"/>
                <a:gd name="T1" fmla="*/ 0 h 1209675"/>
                <a:gd name="T2" fmla="*/ 5018 w 161925"/>
                <a:gd name="T3" fmla="*/ 912267 h 1209675"/>
                <a:gd name="T4" fmla="*/ 456755 w 161925"/>
                <a:gd name="T5" fmla="*/ 1440421 h 1209675"/>
                <a:gd name="T6" fmla="*/ 336292 w 161925"/>
                <a:gd name="T7" fmla="*/ 2032595 h 120967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1925" h="1209675">
                  <a:moveTo>
                    <a:pt x="153987" y="0"/>
                  </a:moveTo>
                  <a:cubicBezTo>
                    <a:pt x="78580" y="200025"/>
                    <a:pt x="3174" y="400050"/>
                    <a:pt x="1587" y="542925"/>
                  </a:cubicBezTo>
                  <a:cubicBezTo>
                    <a:pt x="0" y="685800"/>
                    <a:pt x="127000" y="746125"/>
                    <a:pt x="144462" y="857250"/>
                  </a:cubicBezTo>
                  <a:cubicBezTo>
                    <a:pt x="161925" y="968375"/>
                    <a:pt x="134143" y="1089025"/>
                    <a:pt x="106362" y="1209675"/>
                  </a:cubicBezTo>
                </a:path>
              </a:pathLst>
            </a:custGeom>
            <a:noFill/>
            <a:ln w="76200" cap="flat" cmpd="sng" algn="ctr">
              <a:solidFill>
                <a:srgbClr val="008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anchor="ctr"/>
            <a:lstStyle/>
            <a:p>
              <a:endParaRPr lang="ru-RU"/>
            </a:p>
          </p:txBody>
        </p:sp>
        <p:sp>
          <p:nvSpPr>
            <p:cNvPr id="77" name="plant"/>
            <p:cNvSpPr>
              <a:spLocks noEditPoints="1" noChangeArrowheads="1"/>
            </p:cNvSpPr>
            <p:nvPr/>
          </p:nvSpPr>
          <p:spPr bwMode="auto">
            <a:xfrm>
              <a:off x="1403648" y="3258716"/>
              <a:ext cx="2168153" cy="1321215"/>
            </a:xfrm>
            <a:custGeom>
              <a:avLst/>
              <a:gdLst>
                <a:gd name="T0" fmla="*/ 0 w 21600"/>
                <a:gd name="T1" fmla="*/ 0 h 21600"/>
                <a:gd name="T2" fmla="*/ 10800 w 21600"/>
                <a:gd name="T3" fmla="*/ 0 h 21600"/>
                <a:gd name="T4" fmla="*/ 21600 w 21600"/>
                <a:gd name="T5" fmla="*/ 0 h 21600"/>
                <a:gd name="T6" fmla="*/ 21600 w 21600"/>
                <a:gd name="T7" fmla="*/ 10800 h 21600"/>
                <a:gd name="T8" fmla="*/ 21600 w 21600"/>
                <a:gd name="T9" fmla="*/ 21600 h 21600"/>
                <a:gd name="T10" fmla="*/ 10800 w 21600"/>
                <a:gd name="T11" fmla="*/ 21600 h 21600"/>
                <a:gd name="T12" fmla="*/ 0 w 21600"/>
                <a:gd name="T13" fmla="*/ 21600 h 21600"/>
                <a:gd name="T14" fmla="*/ 0 w 21600"/>
                <a:gd name="T15" fmla="*/ 10800 h 21600"/>
                <a:gd name="T16" fmla="*/ 7100 w 21600"/>
                <a:gd name="T17" fmla="*/ 10092 h 21600"/>
                <a:gd name="T18" fmla="*/ 14545 w 21600"/>
                <a:gd name="T19" fmla="*/ 13573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9368" y="9002"/>
                  </a:moveTo>
                  <a:lnTo>
                    <a:pt x="9254" y="8422"/>
                  </a:lnTo>
                  <a:lnTo>
                    <a:pt x="9139" y="7935"/>
                  </a:lnTo>
                  <a:lnTo>
                    <a:pt x="8819" y="7355"/>
                  </a:lnTo>
                  <a:lnTo>
                    <a:pt x="8475" y="6728"/>
                  </a:lnTo>
                  <a:lnTo>
                    <a:pt x="8040" y="6287"/>
                  </a:lnTo>
                  <a:lnTo>
                    <a:pt x="7421" y="5707"/>
                  </a:lnTo>
                  <a:lnTo>
                    <a:pt x="6574" y="5429"/>
                  </a:lnTo>
                  <a:lnTo>
                    <a:pt x="5452" y="5313"/>
                  </a:lnTo>
                  <a:lnTo>
                    <a:pt x="4856" y="5220"/>
                  </a:lnTo>
                  <a:lnTo>
                    <a:pt x="4169" y="5220"/>
                  </a:lnTo>
                  <a:lnTo>
                    <a:pt x="3665" y="5104"/>
                  </a:lnTo>
                  <a:lnTo>
                    <a:pt x="3001" y="4872"/>
                  </a:lnTo>
                  <a:lnTo>
                    <a:pt x="2497" y="4756"/>
                  </a:lnTo>
                  <a:lnTo>
                    <a:pt x="2062" y="4408"/>
                  </a:lnTo>
                  <a:lnTo>
                    <a:pt x="1603" y="4083"/>
                  </a:lnTo>
                  <a:lnTo>
                    <a:pt x="1283" y="3689"/>
                  </a:lnTo>
                  <a:lnTo>
                    <a:pt x="1283" y="4315"/>
                  </a:lnTo>
                  <a:lnTo>
                    <a:pt x="1489" y="5104"/>
                  </a:lnTo>
                  <a:lnTo>
                    <a:pt x="1832" y="6055"/>
                  </a:lnTo>
                  <a:lnTo>
                    <a:pt x="2382" y="6914"/>
                  </a:lnTo>
                  <a:lnTo>
                    <a:pt x="2680" y="7471"/>
                  </a:lnTo>
                  <a:lnTo>
                    <a:pt x="3115" y="7935"/>
                  </a:lnTo>
                  <a:lnTo>
                    <a:pt x="3573" y="8213"/>
                  </a:lnTo>
                  <a:lnTo>
                    <a:pt x="4077" y="8654"/>
                  </a:lnTo>
                  <a:lnTo>
                    <a:pt x="4627" y="9002"/>
                  </a:lnTo>
                  <a:lnTo>
                    <a:pt x="5245" y="9234"/>
                  </a:lnTo>
                  <a:lnTo>
                    <a:pt x="6024" y="9443"/>
                  </a:lnTo>
                  <a:lnTo>
                    <a:pt x="6757" y="9628"/>
                  </a:lnTo>
                  <a:lnTo>
                    <a:pt x="5177" y="10069"/>
                  </a:lnTo>
                  <a:lnTo>
                    <a:pt x="3963" y="10649"/>
                  </a:lnTo>
                  <a:lnTo>
                    <a:pt x="3344" y="11044"/>
                  </a:lnTo>
                  <a:lnTo>
                    <a:pt x="2886" y="11600"/>
                  </a:lnTo>
                  <a:lnTo>
                    <a:pt x="2497" y="12041"/>
                  </a:lnTo>
                  <a:lnTo>
                    <a:pt x="1947" y="12343"/>
                  </a:lnTo>
                  <a:lnTo>
                    <a:pt x="1168" y="12668"/>
                  </a:lnTo>
                  <a:lnTo>
                    <a:pt x="0" y="12900"/>
                  </a:lnTo>
                  <a:lnTo>
                    <a:pt x="435" y="13248"/>
                  </a:lnTo>
                  <a:lnTo>
                    <a:pt x="779" y="13456"/>
                  </a:lnTo>
                  <a:lnTo>
                    <a:pt x="1283" y="13642"/>
                  </a:lnTo>
                  <a:lnTo>
                    <a:pt x="1718" y="13758"/>
                  </a:lnTo>
                  <a:lnTo>
                    <a:pt x="2680" y="13851"/>
                  </a:lnTo>
                  <a:lnTo>
                    <a:pt x="3573" y="13758"/>
                  </a:lnTo>
                  <a:lnTo>
                    <a:pt x="4512" y="13526"/>
                  </a:lnTo>
                  <a:lnTo>
                    <a:pt x="5360" y="13248"/>
                  </a:lnTo>
                  <a:lnTo>
                    <a:pt x="6139" y="12900"/>
                  </a:lnTo>
                  <a:lnTo>
                    <a:pt x="6757" y="12552"/>
                  </a:lnTo>
                  <a:lnTo>
                    <a:pt x="6459" y="13132"/>
                  </a:lnTo>
                  <a:lnTo>
                    <a:pt x="6139" y="13642"/>
                  </a:lnTo>
                  <a:lnTo>
                    <a:pt x="5910" y="14199"/>
                  </a:lnTo>
                  <a:lnTo>
                    <a:pt x="5681" y="14663"/>
                  </a:lnTo>
                  <a:lnTo>
                    <a:pt x="5681" y="15150"/>
                  </a:lnTo>
                  <a:lnTo>
                    <a:pt x="5681" y="15730"/>
                  </a:lnTo>
                  <a:lnTo>
                    <a:pt x="5681" y="16241"/>
                  </a:lnTo>
                  <a:lnTo>
                    <a:pt x="5795" y="16913"/>
                  </a:lnTo>
                  <a:lnTo>
                    <a:pt x="5910" y="17586"/>
                  </a:lnTo>
                  <a:lnTo>
                    <a:pt x="5910" y="18213"/>
                  </a:lnTo>
                  <a:lnTo>
                    <a:pt x="5795" y="18885"/>
                  </a:lnTo>
                  <a:lnTo>
                    <a:pt x="5566" y="19396"/>
                  </a:lnTo>
                  <a:lnTo>
                    <a:pt x="5245" y="19976"/>
                  </a:lnTo>
                  <a:lnTo>
                    <a:pt x="4971" y="20370"/>
                  </a:lnTo>
                  <a:lnTo>
                    <a:pt x="4512" y="20811"/>
                  </a:lnTo>
                  <a:lnTo>
                    <a:pt x="4077" y="21043"/>
                  </a:lnTo>
                  <a:lnTo>
                    <a:pt x="5177" y="20927"/>
                  </a:lnTo>
                  <a:lnTo>
                    <a:pt x="6253" y="20486"/>
                  </a:lnTo>
                  <a:lnTo>
                    <a:pt x="7421" y="19976"/>
                  </a:lnTo>
                  <a:lnTo>
                    <a:pt x="8361" y="19187"/>
                  </a:lnTo>
                  <a:lnTo>
                    <a:pt x="8819" y="18769"/>
                  </a:lnTo>
                  <a:lnTo>
                    <a:pt x="9139" y="18213"/>
                  </a:lnTo>
                  <a:lnTo>
                    <a:pt x="9437" y="17772"/>
                  </a:lnTo>
                  <a:lnTo>
                    <a:pt x="9643" y="17261"/>
                  </a:lnTo>
                  <a:lnTo>
                    <a:pt x="9872" y="16681"/>
                  </a:lnTo>
                  <a:lnTo>
                    <a:pt x="9872" y="16171"/>
                  </a:lnTo>
                  <a:lnTo>
                    <a:pt x="9872" y="15614"/>
                  </a:lnTo>
                  <a:lnTo>
                    <a:pt x="9758" y="15057"/>
                  </a:lnTo>
                  <a:lnTo>
                    <a:pt x="10216" y="15498"/>
                  </a:lnTo>
                  <a:lnTo>
                    <a:pt x="10537" y="16241"/>
                  </a:lnTo>
                  <a:lnTo>
                    <a:pt x="10834" y="17145"/>
                  </a:lnTo>
                  <a:lnTo>
                    <a:pt x="11041" y="18213"/>
                  </a:lnTo>
                  <a:lnTo>
                    <a:pt x="11155" y="19187"/>
                  </a:lnTo>
                  <a:lnTo>
                    <a:pt x="11155" y="20185"/>
                  </a:lnTo>
                  <a:lnTo>
                    <a:pt x="11155" y="20579"/>
                  </a:lnTo>
                  <a:lnTo>
                    <a:pt x="11041" y="21043"/>
                  </a:lnTo>
                  <a:lnTo>
                    <a:pt x="10926" y="21391"/>
                  </a:lnTo>
                  <a:lnTo>
                    <a:pt x="10766" y="21600"/>
                  </a:lnTo>
                  <a:lnTo>
                    <a:pt x="11499" y="21484"/>
                  </a:lnTo>
                  <a:lnTo>
                    <a:pt x="12323" y="21043"/>
                  </a:lnTo>
                  <a:lnTo>
                    <a:pt x="13102" y="20370"/>
                  </a:lnTo>
                  <a:lnTo>
                    <a:pt x="13606" y="19628"/>
                  </a:lnTo>
                  <a:lnTo>
                    <a:pt x="13950" y="19071"/>
                  </a:lnTo>
                  <a:lnTo>
                    <a:pt x="14064" y="18677"/>
                  </a:lnTo>
                  <a:lnTo>
                    <a:pt x="14179" y="18097"/>
                  </a:lnTo>
                  <a:lnTo>
                    <a:pt x="14293" y="17586"/>
                  </a:lnTo>
                  <a:lnTo>
                    <a:pt x="14179" y="16913"/>
                  </a:lnTo>
                  <a:lnTo>
                    <a:pt x="14064" y="16241"/>
                  </a:lnTo>
                  <a:lnTo>
                    <a:pt x="13835" y="15614"/>
                  </a:lnTo>
                  <a:lnTo>
                    <a:pt x="13560" y="14872"/>
                  </a:lnTo>
                  <a:lnTo>
                    <a:pt x="13950" y="14941"/>
                  </a:lnTo>
                  <a:lnTo>
                    <a:pt x="14408" y="15150"/>
                  </a:lnTo>
                  <a:lnTo>
                    <a:pt x="14843" y="15266"/>
                  </a:lnTo>
                  <a:lnTo>
                    <a:pt x="15232" y="15614"/>
                  </a:lnTo>
                  <a:lnTo>
                    <a:pt x="15576" y="15846"/>
                  </a:lnTo>
                  <a:lnTo>
                    <a:pt x="15897" y="16171"/>
                  </a:lnTo>
                  <a:lnTo>
                    <a:pt x="16126" y="16473"/>
                  </a:lnTo>
                  <a:lnTo>
                    <a:pt x="16240" y="16913"/>
                  </a:lnTo>
                  <a:lnTo>
                    <a:pt x="16515" y="17261"/>
                  </a:lnTo>
                  <a:lnTo>
                    <a:pt x="17088" y="17586"/>
                  </a:lnTo>
                  <a:lnTo>
                    <a:pt x="17798" y="17865"/>
                  </a:lnTo>
                  <a:lnTo>
                    <a:pt x="18576" y="18097"/>
                  </a:lnTo>
                  <a:lnTo>
                    <a:pt x="19424" y="18213"/>
                  </a:lnTo>
                  <a:lnTo>
                    <a:pt x="20317" y="18213"/>
                  </a:lnTo>
                  <a:lnTo>
                    <a:pt x="21050" y="18213"/>
                  </a:lnTo>
                  <a:lnTo>
                    <a:pt x="21600" y="17865"/>
                  </a:lnTo>
                  <a:lnTo>
                    <a:pt x="21165" y="17656"/>
                  </a:lnTo>
                  <a:lnTo>
                    <a:pt x="20592" y="17470"/>
                  </a:lnTo>
                  <a:lnTo>
                    <a:pt x="20088" y="17029"/>
                  </a:lnTo>
                  <a:lnTo>
                    <a:pt x="19653" y="16681"/>
                  </a:lnTo>
                  <a:lnTo>
                    <a:pt x="19195" y="16241"/>
                  </a:lnTo>
                  <a:lnTo>
                    <a:pt x="18920" y="15962"/>
                  </a:lnTo>
                  <a:lnTo>
                    <a:pt x="18576" y="15498"/>
                  </a:lnTo>
                  <a:lnTo>
                    <a:pt x="18576" y="15057"/>
                  </a:lnTo>
                  <a:lnTo>
                    <a:pt x="18485" y="14756"/>
                  </a:lnTo>
                  <a:lnTo>
                    <a:pt x="18256" y="14199"/>
                  </a:lnTo>
                  <a:lnTo>
                    <a:pt x="17912" y="13526"/>
                  </a:lnTo>
                  <a:lnTo>
                    <a:pt x="17523" y="13016"/>
                  </a:lnTo>
                  <a:lnTo>
                    <a:pt x="16973" y="12436"/>
                  </a:lnTo>
                  <a:lnTo>
                    <a:pt x="16355" y="12041"/>
                  </a:lnTo>
                  <a:lnTo>
                    <a:pt x="16011" y="11832"/>
                  </a:lnTo>
                  <a:lnTo>
                    <a:pt x="15690" y="11716"/>
                  </a:lnTo>
                  <a:lnTo>
                    <a:pt x="15232" y="11716"/>
                  </a:lnTo>
                  <a:lnTo>
                    <a:pt x="14843" y="11716"/>
                  </a:lnTo>
                  <a:lnTo>
                    <a:pt x="15461" y="11252"/>
                  </a:lnTo>
                  <a:lnTo>
                    <a:pt x="16126" y="10858"/>
                  </a:lnTo>
                  <a:lnTo>
                    <a:pt x="16973" y="10649"/>
                  </a:lnTo>
                  <a:lnTo>
                    <a:pt x="17798" y="10417"/>
                  </a:lnTo>
                  <a:lnTo>
                    <a:pt x="18806" y="10301"/>
                  </a:lnTo>
                  <a:lnTo>
                    <a:pt x="19653" y="10301"/>
                  </a:lnTo>
                  <a:lnTo>
                    <a:pt x="20478" y="10417"/>
                  </a:lnTo>
                  <a:lnTo>
                    <a:pt x="21256" y="10533"/>
                  </a:lnTo>
                  <a:lnTo>
                    <a:pt x="20707" y="9837"/>
                  </a:lnTo>
                  <a:lnTo>
                    <a:pt x="19859" y="9234"/>
                  </a:lnTo>
                  <a:lnTo>
                    <a:pt x="18806" y="8538"/>
                  </a:lnTo>
                  <a:lnTo>
                    <a:pt x="17637" y="8144"/>
                  </a:lnTo>
                  <a:lnTo>
                    <a:pt x="16973" y="8027"/>
                  </a:lnTo>
                  <a:lnTo>
                    <a:pt x="16355" y="7935"/>
                  </a:lnTo>
                  <a:lnTo>
                    <a:pt x="15805" y="7935"/>
                  </a:lnTo>
                  <a:lnTo>
                    <a:pt x="15118" y="8027"/>
                  </a:lnTo>
                  <a:lnTo>
                    <a:pt x="14614" y="8144"/>
                  </a:lnTo>
                  <a:lnTo>
                    <a:pt x="14064" y="8422"/>
                  </a:lnTo>
                  <a:lnTo>
                    <a:pt x="13606" y="8886"/>
                  </a:lnTo>
                  <a:lnTo>
                    <a:pt x="13217" y="9327"/>
                  </a:lnTo>
                  <a:lnTo>
                    <a:pt x="13606" y="8538"/>
                  </a:lnTo>
                  <a:lnTo>
                    <a:pt x="13950" y="7935"/>
                  </a:lnTo>
                  <a:lnTo>
                    <a:pt x="14293" y="7123"/>
                  </a:lnTo>
                  <a:lnTo>
                    <a:pt x="14499" y="6519"/>
                  </a:lnTo>
                  <a:lnTo>
                    <a:pt x="14614" y="5823"/>
                  </a:lnTo>
                  <a:lnTo>
                    <a:pt x="14614" y="5220"/>
                  </a:lnTo>
                  <a:lnTo>
                    <a:pt x="14408" y="4524"/>
                  </a:lnTo>
                  <a:lnTo>
                    <a:pt x="14064" y="3898"/>
                  </a:lnTo>
                  <a:lnTo>
                    <a:pt x="13606" y="3225"/>
                  </a:lnTo>
                  <a:lnTo>
                    <a:pt x="13331" y="2598"/>
                  </a:lnTo>
                  <a:lnTo>
                    <a:pt x="13102" y="2042"/>
                  </a:lnTo>
                  <a:lnTo>
                    <a:pt x="12896" y="1485"/>
                  </a:lnTo>
                  <a:lnTo>
                    <a:pt x="12781" y="1090"/>
                  </a:lnTo>
                  <a:lnTo>
                    <a:pt x="12667" y="626"/>
                  </a:lnTo>
                  <a:lnTo>
                    <a:pt x="12667" y="278"/>
                  </a:lnTo>
                  <a:lnTo>
                    <a:pt x="12667" y="0"/>
                  </a:lnTo>
                  <a:lnTo>
                    <a:pt x="12163" y="394"/>
                  </a:lnTo>
                  <a:lnTo>
                    <a:pt x="11728" y="974"/>
                  </a:lnTo>
                  <a:lnTo>
                    <a:pt x="11155" y="1601"/>
                  </a:lnTo>
                  <a:lnTo>
                    <a:pt x="10766" y="2390"/>
                  </a:lnTo>
                  <a:lnTo>
                    <a:pt x="10330" y="3109"/>
                  </a:lnTo>
                  <a:lnTo>
                    <a:pt x="10101" y="3898"/>
                  </a:lnTo>
                  <a:lnTo>
                    <a:pt x="9987" y="4524"/>
                  </a:lnTo>
                  <a:lnTo>
                    <a:pt x="10101" y="5220"/>
                  </a:lnTo>
                  <a:lnTo>
                    <a:pt x="10216" y="5823"/>
                  </a:lnTo>
                  <a:lnTo>
                    <a:pt x="10330" y="6403"/>
                  </a:lnTo>
                  <a:lnTo>
                    <a:pt x="10330" y="6914"/>
                  </a:lnTo>
                  <a:lnTo>
                    <a:pt x="10216" y="7471"/>
                  </a:lnTo>
                  <a:lnTo>
                    <a:pt x="10101" y="7935"/>
                  </a:lnTo>
                  <a:lnTo>
                    <a:pt x="9872" y="8329"/>
                  </a:lnTo>
                  <a:lnTo>
                    <a:pt x="9643" y="8654"/>
                  </a:lnTo>
                  <a:lnTo>
                    <a:pt x="9368" y="9002"/>
                  </a:lnTo>
                  <a:close/>
                </a:path>
              </a:pathLst>
            </a:custGeom>
            <a:solidFill>
              <a:srgbClr val="0080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107763" dir="2700000" algn="ctr" rotWithShape="0">
                <a:srgbClr val="808080"/>
              </a:outerShdw>
            </a:effectLst>
          </p:spPr>
          <p:txBody>
            <a:bodyPr/>
            <a:lstStyle/>
            <a:p>
              <a:pPr algn="ctr">
                <a:defRPr/>
              </a:pPr>
              <a:endParaRPr lang="en-US"/>
            </a:p>
          </p:txBody>
        </p:sp>
      </p:grpSp>
      <p:grpSp>
        <p:nvGrpSpPr>
          <p:cNvPr id="119823" name="Gruppieren 77"/>
          <p:cNvGrpSpPr>
            <a:grpSpLocks/>
          </p:cNvGrpSpPr>
          <p:nvPr/>
        </p:nvGrpSpPr>
        <p:grpSpPr bwMode="auto">
          <a:xfrm>
            <a:off x="7675563" y="4005263"/>
            <a:ext cx="352425" cy="1285875"/>
            <a:chOff x="1403648" y="3258716"/>
            <a:chExt cx="2168153" cy="2346895"/>
          </a:xfrm>
        </p:grpSpPr>
        <p:sp>
          <p:nvSpPr>
            <p:cNvPr id="119857" name="Freihandform 78"/>
            <p:cNvSpPr>
              <a:spLocks/>
            </p:cNvSpPr>
            <p:nvPr/>
          </p:nvSpPr>
          <p:spPr bwMode="auto">
            <a:xfrm>
              <a:off x="2347665" y="3573016"/>
              <a:ext cx="511969" cy="2032595"/>
            </a:xfrm>
            <a:custGeom>
              <a:avLst/>
              <a:gdLst>
                <a:gd name="T0" fmla="*/ 486871 w 161925"/>
                <a:gd name="T1" fmla="*/ 0 h 1209675"/>
                <a:gd name="T2" fmla="*/ 5018 w 161925"/>
                <a:gd name="T3" fmla="*/ 912267 h 1209675"/>
                <a:gd name="T4" fmla="*/ 456755 w 161925"/>
                <a:gd name="T5" fmla="*/ 1440421 h 1209675"/>
                <a:gd name="T6" fmla="*/ 336292 w 161925"/>
                <a:gd name="T7" fmla="*/ 2032595 h 120967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1925" h="1209675">
                  <a:moveTo>
                    <a:pt x="153987" y="0"/>
                  </a:moveTo>
                  <a:cubicBezTo>
                    <a:pt x="78580" y="200025"/>
                    <a:pt x="3174" y="400050"/>
                    <a:pt x="1587" y="542925"/>
                  </a:cubicBezTo>
                  <a:cubicBezTo>
                    <a:pt x="0" y="685800"/>
                    <a:pt x="127000" y="746125"/>
                    <a:pt x="144462" y="857250"/>
                  </a:cubicBezTo>
                  <a:cubicBezTo>
                    <a:pt x="161925" y="968375"/>
                    <a:pt x="134143" y="1089025"/>
                    <a:pt x="106362" y="1209675"/>
                  </a:cubicBezTo>
                </a:path>
              </a:pathLst>
            </a:custGeom>
            <a:noFill/>
            <a:ln w="76200" cap="flat" cmpd="sng" algn="ctr">
              <a:solidFill>
                <a:srgbClr val="008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anchor="ctr"/>
            <a:lstStyle/>
            <a:p>
              <a:endParaRPr lang="ru-RU"/>
            </a:p>
          </p:txBody>
        </p:sp>
        <p:sp>
          <p:nvSpPr>
            <p:cNvPr id="80" name="plant"/>
            <p:cNvSpPr>
              <a:spLocks noEditPoints="1" noChangeArrowheads="1"/>
            </p:cNvSpPr>
            <p:nvPr/>
          </p:nvSpPr>
          <p:spPr bwMode="auto">
            <a:xfrm>
              <a:off x="1403648" y="3258716"/>
              <a:ext cx="2168153" cy="1321215"/>
            </a:xfrm>
            <a:custGeom>
              <a:avLst/>
              <a:gdLst>
                <a:gd name="T0" fmla="*/ 0 w 21600"/>
                <a:gd name="T1" fmla="*/ 0 h 21600"/>
                <a:gd name="T2" fmla="*/ 10800 w 21600"/>
                <a:gd name="T3" fmla="*/ 0 h 21600"/>
                <a:gd name="T4" fmla="*/ 21600 w 21600"/>
                <a:gd name="T5" fmla="*/ 0 h 21600"/>
                <a:gd name="T6" fmla="*/ 21600 w 21600"/>
                <a:gd name="T7" fmla="*/ 10800 h 21600"/>
                <a:gd name="T8" fmla="*/ 21600 w 21600"/>
                <a:gd name="T9" fmla="*/ 21600 h 21600"/>
                <a:gd name="T10" fmla="*/ 10800 w 21600"/>
                <a:gd name="T11" fmla="*/ 21600 h 21600"/>
                <a:gd name="T12" fmla="*/ 0 w 21600"/>
                <a:gd name="T13" fmla="*/ 21600 h 21600"/>
                <a:gd name="T14" fmla="*/ 0 w 21600"/>
                <a:gd name="T15" fmla="*/ 10800 h 21600"/>
                <a:gd name="T16" fmla="*/ 7100 w 21600"/>
                <a:gd name="T17" fmla="*/ 10092 h 21600"/>
                <a:gd name="T18" fmla="*/ 14545 w 21600"/>
                <a:gd name="T19" fmla="*/ 13573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9368" y="9002"/>
                  </a:moveTo>
                  <a:lnTo>
                    <a:pt x="9254" y="8422"/>
                  </a:lnTo>
                  <a:lnTo>
                    <a:pt x="9139" y="7935"/>
                  </a:lnTo>
                  <a:lnTo>
                    <a:pt x="8819" y="7355"/>
                  </a:lnTo>
                  <a:lnTo>
                    <a:pt x="8475" y="6728"/>
                  </a:lnTo>
                  <a:lnTo>
                    <a:pt x="8040" y="6287"/>
                  </a:lnTo>
                  <a:lnTo>
                    <a:pt x="7421" y="5707"/>
                  </a:lnTo>
                  <a:lnTo>
                    <a:pt x="6574" y="5429"/>
                  </a:lnTo>
                  <a:lnTo>
                    <a:pt x="5452" y="5313"/>
                  </a:lnTo>
                  <a:lnTo>
                    <a:pt x="4856" y="5220"/>
                  </a:lnTo>
                  <a:lnTo>
                    <a:pt x="4169" y="5220"/>
                  </a:lnTo>
                  <a:lnTo>
                    <a:pt x="3665" y="5104"/>
                  </a:lnTo>
                  <a:lnTo>
                    <a:pt x="3001" y="4872"/>
                  </a:lnTo>
                  <a:lnTo>
                    <a:pt x="2497" y="4756"/>
                  </a:lnTo>
                  <a:lnTo>
                    <a:pt x="2062" y="4408"/>
                  </a:lnTo>
                  <a:lnTo>
                    <a:pt x="1603" y="4083"/>
                  </a:lnTo>
                  <a:lnTo>
                    <a:pt x="1283" y="3689"/>
                  </a:lnTo>
                  <a:lnTo>
                    <a:pt x="1283" y="4315"/>
                  </a:lnTo>
                  <a:lnTo>
                    <a:pt x="1489" y="5104"/>
                  </a:lnTo>
                  <a:lnTo>
                    <a:pt x="1832" y="6055"/>
                  </a:lnTo>
                  <a:lnTo>
                    <a:pt x="2382" y="6914"/>
                  </a:lnTo>
                  <a:lnTo>
                    <a:pt x="2680" y="7471"/>
                  </a:lnTo>
                  <a:lnTo>
                    <a:pt x="3115" y="7935"/>
                  </a:lnTo>
                  <a:lnTo>
                    <a:pt x="3573" y="8213"/>
                  </a:lnTo>
                  <a:lnTo>
                    <a:pt x="4077" y="8654"/>
                  </a:lnTo>
                  <a:lnTo>
                    <a:pt x="4627" y="9002"/>
                  </a:lnTo>
                  <a:lnTo>
                    <a:pt x="5245" y="9234"/>
                  </a:lnTo>
                  <a:lnTo>
                    <a:pt x="6024" y="9443"/>
                  </a:lnTo>
                  <a:lnTo>
                    <a:pt x="6757" y="9628"/>
                  </a:lnTo>
                  <a:lnTo>
                    <a:pt x="5177" y="10069"/>
                  </a:lnTo>
                  <a:lnTo>
                    <a:pt x="3963" y="10649"/>
                  </a:lnTo>
                  <a:lnTo>
                    <a:pt x="3344" y="11044"/>
                  </a:lnTo>
                  <a:lnTo>
                    <a:pt x="2886" y="11600"/>
                  </a:lnTo>
                  <a:lnTo>
                    <a:pt x="2497" y="12041"/>
                  </a:lnTo>
                  <a:lnTo>
                    <a:pt x="1947" y="12343"/>
                  </a:lnTo>
                  <a:lnTo>
                    <a:pt x="1168" y="12668"/>
                  </a:lnTo>
                  <a:lnTo>
                    <a:pt x="0" y="12900"/>
                  </a:lnTo>
                  <a:lnTo>
                    <a:pt x="435" y="13248"/>
                  </a:lnTo>
                  <a:lnTo>
                    <a:pt x="779" y="13456"/>
                  </a:lnTo>
                  <a:lnTo>
                    <a:pt x="1283" y="13642"/>
                  </a:lnTo>
                  <a:lnTo>
                    <a:pt x="1718" y="13758"/>
                  </a:lnTo>
                  <a:lnTo>
                    <a:pt x="2680" y="13851"/>
                  </a:lnTo>
                  <a:lnTo>
                    <a:pt x="3573" y="13758"/>
                  </a:lnTo>
                  <a:lnTo>
                    <a:pt x="4512" y="13526"/>
                  </a:lnTo>
                  <a:lnTo>
                    <a:pt x="5360" y="13248"/>
                  </a:lnTo>
                  <a:lnTo>
                    <a:pt x="6139" y="12900"/>
                  </a:lnTo>
                  <a:lnTo>
                    <a:pt x="6757" y="12552"/>
                  </a:lnTo>
                  <a:lnTo>
                    <a:pt x="6459" y="13132"/>
                  </a:lnTo>
                  <a:lnTo>
                    <a:pt x="6139" y="13642"/>
                  </a:lnTo>
                  <a:lnTo>
                    <a:pt x="5910" y="14199"/>
                  </a:lnTo>
                  <a:lnTo>
                    <a:pt x="5681" y="14663"/>
                  </a:lnTo>
                  <a:lnTo>
                    <a:pt x="5681" y="15150"/>
                  </a:lnTo>
                  <a:lnTo>
                    <a:pt x="5681" y="15730"/>
                  </a:lnTo>
                  <a:lnTo>
                    <a:pt x="5681" y="16241"/>
                  </a:lnTo>
                  <a:lnTo>
                    <a:pt x="5795" y="16913"/>
                  </a:lnTo>
                  <a:lnTo>
                    <a:pt x="5910" y="17586"/>
                  </a:lnTo>
                  <a:lnTo>
                    <a:pt x="5910" y="18213"/>
                  </a:lnTo>
                  <a:lnTo>
                    <a:pt x="5795" y="18885"/>
                  </a:lnTo>
                  <a:lnTo>
                    <a:pt x="5566" y="19396"/>
                  </a:lnTo>
                  <a:lnTo>
                    <a:pt x="5245" y="19976"/>
                  </a:lnTo>
                  <a:lnTo>
                    <a:pt x="4971" y="20370"/>
                  </a:lnTo>
                  <a:lnTo>
                    <a:pt x="4512" y="20811"/>
                  </a:lnTo>
                  <a:lnTo>
                    <a:pt x="4077" y="21043"/>
                  </a:lnTo>
                  <a:lnTo>
                    <a:pt x="5177" y="20927"/>
                  </a:lnTo>
                  <a:lnTo>
                    <a:pt x="6253" y="20486"/>
                  </a:lnTo>
                  <a:lnTo>
                    <a:pt x="7421" y="19976"/>
                  </a:lnTo>
                  <a:lnTo>
                    <a:pt x="8361" y="19187"/>
                  </a:lnTo>
                  <a:lnTo>
                    <a:pt x="8819" y="18769"/>
                  </a:lnTo>
                  <a:lnTo>
                    <a:pt x="9139" y="18213"/>
                  </a:lnTo>
                  <a:lnTo>
                    <a:pt x="9437" y="17772"/>
                  </a:lnTo>
                  <a:lnTo>
                    <a:pt x="9643" y="17261"/>
                  </a:lnTo>
                  <a:lnTo>
                    <a:pt x="9872" y="16681"/>
                  </a:lnTo>
                  <a:lnTo>
                    <a:pt x="9872" y="16171"/>
                  </a:lnTo>
                  <a:lnTo>
                    <a:pt x="9872" y="15614"/>
                  </a:lnTo>
                  <a:lnTo>
                    <a:pt x="9758" y="15057"/>
                  </a:lnTo>
                  <a:lnTo>
                    <a:pt x="10216" y="15498"/>
                  </a:lnTo>
                  <a:lnTo>
                    <a:pt x="10537" y="16241"/>
                  </a:lnTo>
                  <a:lnTo>
                    <a:pt x="10834" y="17145"/>
                  </a:lnTo>
                  <a:lnTo>
                    <a:pt x="11041" y="18213"/>
                  </a:lnTo>
                  <a:lnTo>
                    <a:pt x="11155" y="19187"/>
                  </a:lnTo>
                  <a:lnTo>
                    <a:pt x="11155" y="20185"/>
                  </a:lnTo>
                  <a:lnTo>
                    <a:pt x="11155" y="20579"/>
                  </a:lnTo>
                  <a:lnTo>
                    <a:pt x="11041" y="21043"/>
                  </a:lnTo>
                  <a:lnTo>
                    <a:pt x="10926" y="21391"/>
                  </a:lnTo>
                  <a:lnTo>
                    <a:pt x="10766" y="21600"/>
                  </a:lnTo>
                  <a:lnTo>
                    <a:pt x="11499" y="21484"/>
                  </a:lnTo>
                  <a:lnTo>
                    <a:pt x="12323" y="21043"/>
                  </a:lnTo>
                  <a:lnTo>
                    <a:pt x="13102" y="20370"/>
                  </a:lnTo>
                  <a:lnTo>
                    <a:pt x="13606" y="19628"/>
                  </a:lnTo>
                  <a:lnTo>
                    <a:pt x="13950" y="19071"/>
                  </a:lnTo>
                  <a:lnTo>
                    <a:pt x="14064" y="18677"/>
                  </a:lnTo>
                  <a:lnTo>
                    <a:pt x="14179" y="18097"/>
                  </a:lnTo>
                  <a:lnTo>
                    <a:pt x="14293" y="17586"/>
                  </a:lnTo>
                  <a:lnTo>
                    <a:pt x="14179" y="16913"/>
                  </a:lnTo>
                  <a:lnTo>
                    <a:pt x="14064" y="16241"/>
                  </a:lnTo>
                  <a:lnTo>
                    <a:pt x="13835" y="15614"/>
                  </a:lnTo>
                  <a:lnTo>
                    <a:pt x="13560" y="14872"/>
                  </a:lnTo>
                  <a:lnTo>
                    <a:pt x="13950" y="14941"/>
                  </a:lnTo>
                  <a:lnTo>
                    <a:pt x="14408" y="15150"/>
                  </a:lnTo>
                  <a:lnTo>
                    <a:pt x="14843" y="15266"/>
                  </a:lnTo>
                  <a:lnTo>
                    <a:pt x="15232" y="15614"/>
                  </a:lnTo>
                  <a:lnTo>
                    <a:pt x="15576" y="15846"/>
                  </a:lnTo>
                  <a:lnTo>
                    <a:pt x="15897" y="16171"/>
                  </a:lnTo>
                  <a:lnTo>
                    <a:pt x="16126" y="16473"/>
                  </a:lnTo>
                  <a:lnTo>
                    <a:pt x="16240" y="16913"/>
                  </a:lnTo>
                  <a:lnTo>
                    <a:pt x="16515" y="17261"/>
                  </a:lnTo>
                  <a:lnTo>
                    <a:pt x="17088" y="17586"/>
                  </a:lnTo>
                  <a:lnTo>
                    <a:pt x="17798" y="17865"/>
                  </a:lnTo>
                  <a:lnTo>
                    <a:pt x="18576" y="18097"/>
                  </a:lnTo>
                  <a:lnTo>
                    <a:pt x="19424" y="18213"/>
                  </a:lnTo>
                  <a:lnTo>
                    <a:pt x="20317" y="18213"/>
                  </a:lnTo>
                  <a:lnTo>
                    <a:pt x="21050" y="18213"/>
                  </a:lnTo>
                  <a:lnTo>
                    <a:pt x="21600" y="17865"/>
                  </a:lnTo>
                  <a:lnTo>
                    <a:pt x="21165" y="17656"/>
                  </a:lnTo>
                  <a:lnTo>
                    <a:pt x="20592" y="17470"/>
                  </a:lnTo>
                  <a:lnTo>
                    <a:pt x="20088" y="17029"/>
                  </a:lnTo>
                  <a:lnTo>
                    <a:pt x="19653" y="16681"/>
                  </a:lnTo>
                  <a:lnTo>
                    <a:pt x="19195" y="16241"/>
                  </a:lnTo>
                  <a:lnTo>
                    <a:pt x="18920" y="15962"/>
                  </a:lnTo>
                  <a:lnTo>
                    <a:pt x="18576" y="15498"/>
                  </a:lnTo>
                  <a:lnTo>
                    <a:pt x="18576" y="15057"/>
                  </a:lnTo>
                  <a:lnTo>
                    <a:pt x="18485" y="14756"/>
                  </a:lnTo>
                  <a:lnTo>
                    <a:pt x="18256" y="14199"/>
                  </a:lnTo>
                  <a:lnTo>
                    <a:pt x="17912" y="13526"/>
                  </a:lnTo>
                  <a:lnTo>
                    <a:pt x="17523" y="13016"/>
                  </a:lnTo>
                  <a:lnTo>
                    <a:pt x="16973" y="12436"/>
                  </a:lnTo>
                  <a:lnTo>
                    <a:pt x="16355" y="12041"/>
                  </a:lnTo>
                  <a:lnTo>
                    <a:pt x="16011" y="11832"/>
                  </a:lnTo>
                  <a:lnTo>
                    <a:pt x="15690" y="11716"/>
                  </a:lnTo>
                  <a:lnTo>
                    <a:pt x="15232" y="11716"/>
                  </a:lnTo>
                  <a:lnTo>
                    <a:pt x="14843" y="11716"/>
                  </a:lnTo>
                  <a:lnTo>
                    <a:pt x="15461" y="11252"/>
                  </a:lnTo>
                  <a:lnTo>
                    <a:pt x="16126" y="10858"/>
                  </a:lnTo>
                  <a:lnTo>
                    <a:pt x="16973" y="10649"/>
                  </a:lnTo>
                  <a:lnTo>
                    <a:pt x="17798" y="10417"/>
                  </a:lnTo>
                  <a:lnTo>
                    <a:pt x="18806" y="10301"/>
                  </a:lnTo>
                  <a:lnTo>
                    <a:pt x="19653" y="10301"/>
                  </a:lnTo>
                  <a:lnTo>
                    <a:pt x="20478" y="10417"/>
                  </a:lnTo>
                  <a:lnTo>
                    <a:pt x="21256" y="10533"/>
                  </a:lnTo>
                  <a:lnTo>
                    <a:pt x="20707" y="9837"/>
                  </a:lnTo>
                  <a:lnTo>
                    <a:pt x="19859" y="9234"/>
                  </a:lnTo>
                  <a:lnTo>
                    <a:pt x="18806" y="8538"/>
                  </a:lnTo>
                  <a:lnTo>
                    <a:pt x="17637" y="8144"/>
                  </a:lnTo>
                  <a:lnTo>
                    <a:pt x="16973" y="8027"/>
                  </a:lnTo>
                  <a:lnTo>
                    <a:pt x="16355" y="7935"/>
                  </a:lnTo>
                  <a:lnTo>
                    <a:pt x="15805" y="7935"/>
                  </a:lnTo>
                  <a:lnTo>
                    <a:pt x="15118" y="8027"/>
                  </a:lnTo>
                  <a:lnTo>
                    <a:pt x="14614" y="8144"/>
                  </a:lnTo>
                  <a:lnTo>
                    <a:pt x="14064" y="8422"/>
                  </a:lnTo>
                  <a:lnTo>
                    <a:pt x="13606" y="8886"/>
                  </a:lnTo>
                  <a:lnTo>
                    <a:pt x="13217" y="9327"/>
                  </a:lnTo>
                  <a:lnTo>
                    <a:pt x="13606" y="8538"/>
                  </a:lnTo>
                  <a:lnTo>
                    <a:pt x="13950" y="7935"/>
                  </a:lnTo>
                  <a:lnTo>
                    <a:pt x="14293" y="7123"/>
                  </a:lnTo>
                  <a:lnTo>
                    <a:pt x="14499" y="6519"/>
                  </a:lnTo>
                  <a:lnTo>
                    <a:pt x="14614" y="5823"/>
                  </a:lnTo>
                  <a:lnTo>
                    <a:pt x="14614" y="5220"/>
                  </a:lnTo>
                  <a:lnTo>
                    <a:pt x="14408" y="4524"/>
                  </a:lnTo>
                  <a:lnTo>
                    <a:pt x="14064" y="3898"/>
                  </a:lnTo>
                  <a:lnTo>
                    <a:pt x="13606" y="3225"/>
                  </a:lnTo>
                  <a:lnTo>
                    <a:pt x="13331" y="2598"/>
                  </a:lnTo>
                  <a:lnTo>
                    <a:pt x="13102" y="2042"/>
                  </a:lnTo>
                  <a:lnTo>
                    <a:pt x="12896" y="1485"/>
                  </a:lnTo>
                  <a:lnTo>
                    <a:pt x="12781" y="1090"/>
                  </a:lnTo>
                  <a:lnTo>
                    <a:pt x="12667" y="626"/>
                  </a:lnTo>
                  <a:lnTo>
                    <a:pt x="12667" y="278"/>
                  </a:lnTo>
                  <a:lnTo>
                    <a:pt x="12667" y="0"/>
                  </a:lnTo>
                  <a:lnTo>
                    <a:pt x="12163" y="394"/>
                  </a:lnTo>
                  <a:lnTo>
                    <a:pt x="11728" y="974"/>
                  </a:lnTo>
                  <a:lnTo>
                    <a:pt x="11155" y="1601"/>
                  </a:lnTo>
                  <a:lnTo>
                    <a:pt x="10766" y="2390"/>
                  </a:lnTo>
                  <a:lnTo>
                    <a:pt x="10330" y="3109"/>
                  </a:lnTo>
                  <a:lnTo>
                    <a:pt x="10101" y="3898"/>
                  </a:lnTo>
                  <a:lnTo>
                    <a:pt x="9987" y="4524"/>
                  </a:lnTo>
                  <a:lnTo>
                    <a:pt x="10101" y="5220"/>
                  </a:lnTo>
                  <a:lnTo>
                    <a:pt x="10216" y="5823"/>
                  </a:lnTo>
                  <a:lnTo>
                    <a:pt x="10330" y="6403"/>
                  </a:lnTo>
                  <a:lnTo>
                    <a:pt x="10330" y="6914"/>
                  </a:lnTo>
                  <a:lnTo>
                    <a:pt x="10216" y="7471"/>
                  </a:lnTo>
                  <a:lnTo>
                    <a:pt x="10101" y="7935"/>
                  </a:lnTo>
                  <a:lnTo>
                    <a:pt x="9872" y="8329"/>
                  </a:lnTo>
                  <a:lnTo>
                    <a:pt x="9643" y="8654"/>
                  </a:lnTo>
                  <a:lnTo>
                    <a:pt x="9368" y="9002"/>
                  </a:lnTo>
                  <a:close/>
                </a:path>
              </a:pathLst>
            </a:custGeom>
            <a:solidFill>
              <a:srgbClr val="0080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107763" dir="2700000" algn="ctr" rotWithShape="0">
                <a:srgbClr val="808080"/>
              </a:outerShdw>
            </a:effectLst>
          </p:spPr>
          <p:txBody>
            <a:bodyPr/>
            <a:lstStyle/>
            <a:p>
              <a:pPr algn="ctr">
                <a:defRPr/>
              </a:pPr>
              <a:endParaRPr lang="en-US"/>
            </a:p>
          </p:txBody>
        </p:sp>
      </p:grpSp>
      <p:grpSp>
        <p:nvGrpSpPr>
          <p:cNvPr id="119824" name="Gruppieren 80"/>
          <p:cNvGrpSpPr>
            <a:grpSpLocks/>
          </p:cNvGrpSpPr>
          <p:nvPr/>
        </p:nvGrpSpPr>
        <p:grpSpPr bwMode="auto">
          <a:xfrm>
            <a:off x="7748588" y="4005263"/>
            <a:ext cx="352425" cy="1285875"/>
            <a:chOff x="1403648" y="3258716"/>
            <a:chExt cx="2168153" cy="2346895"/>
          </a:xfrm>
        </p:grpSpPr>
        <p:sp>
          <p:nvSpPr>
            <p:cNvPr id="119855" name="Freihandform 81"/>
            <p:cNvSpPr>
              <a:spLocks/>
            </p:cNvSpPr>
            <p:nvPr/>
          </p:nvSpPr>
          <p:spPr bwMode="auto">
            <a:xfrm>
              <a:off x="2347665" y="3573016"/>
              <a:ext cx="511969" cy="2032595"/>
            </a:xfrm>
            <a:custGeom>
              <a:avLst/>
              <a:gdLst>
                <a:gd name="T0" fmla="*/ 486871 w 161925"/>
                <a:gd name="T1" fmla="*/ 0 h 1209675"/>
                <a:gd name="T2" fmla="*/ 5018 w 161925"/>
                <a:gd name="T3" fmla="*/ 912267 h 1209675"/>
                <a:gd name="T4" fmla="*/ 456755 w 161925"/>
                <a:gd name="T5" fmla="*/ 1440421 h 1209675"/>
                <a:gd name="T6" fmla="*/ 336292 w 161925"/>
                <a:gd name="T7" fmla="*/ 2032595 h 120967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61925" h="1209675">
                  <a:moveTo>
                    <a:pt x="153987" y="0"/>
                  </a:moveTo>
                  <a:cubicBezTo>
                    <a:pt x="78580" y="200025"/>
                    <a:pt x="3174" y="400050"/>
                    <a:pt x="1587" y="542925"/>
                  </a:cubicBezTo>
                  <a:cubicBezTo>
                    <a:pt x="0" y="685800"/>
                    <a:pt x="127000" y="746125"/>
                    <a:pt x="144462" y="857250"/>
                  </a:cubicBezTo>
                  <a:cubicBezTo>
                    <a:pt x="161925" y="968375"/>
                    <a:pt x="134143" y="1089025"/>
                    <a:pt x="106362" y="1209675"/>
                  </a:cubicBezTo>
                </a:path>
              </a:pathLst>
            </a:custGeom>
            <a:noFill/>
            <a:ln w="76200" cap="flat" cmpd="sng" algn="ctr">
              <a:solidFill>
                <a:srgbClr val="008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anchor="ctr"/>
            <a:lstStyle/>
            <a:p>
              <a:endParaRPr lang="ru-RU"/>
            </a:p>
          </p:txBody>
        </p:sp>
        <p:sp>
          <p:nvSpPr>
            <p:cNvPr id="83" name="plant"/>
            <p:cNvSpPr>
              <a:spLocks noEditPoints="1" noChangeArrowheads="1"/>
            </p:cNvSpPr>
            <p:nvPr/>
          </p:nvSpPr>
          <p:spPr bwMode="auto">
            <a:xfrm>
              <a:off x="1403648" y="3258716"/>
              <a:ext cx="2168153" cy="1321215"/>
            </a:xfrm>
            <a:custGeom>
              <a:avLst/>
              <a:gdLst>
                <a:gd name="T0" fmla="*/ 0 w 21600"/>
                <a:gd name="T1" fmla="*/ 0 h 21600"/>
                <a:gd name="T2" fmla="*/ 10800 w 21600"/>
                <a:gd name="T3" fmla="*/ 0 h 21600"/>
                <a:gd name="T4" fmla="*/ 21600 w 21600"/>
                <a:gd name="T5" fmla="*/ 0 h 21600"/>
                <a:gd name="T6" fmla="*/ 21600 w 21600"/>
                <a:gd name="T7" fmla="*/ 10800 h 21600"/>
                <a:gd name="T8" fmla="*/ 21600 w 21600"/>
                <a:gd name="T9" fmla="*/ 21600 h 21600"/>
                <a:gd name="T10" fmla="*/ 10800 w 21600"/>
                <a:gd name="T11" fmla="*/ 21600 h 21600"/>
                <a:gd name="T12" fmla="*/ 0 w 21600"/>
                <a:gd name="T13" fmla="*/ 21600 h 21600"/>
                <a:gd name="T14" fmla="*/ 0 w 21600"/>
                <a:gd name="T15" fmla="*/ 10800 h 21600"/>
                <a:gd name="T16" fmla="*/ 7100 w 21600"/>
                <a:gd name="T17" fmla="*/ 10092 h 21600"/>
                <a:gd name="T18" fmla="*/ 14545 w 21600"/>
                <a:gd name="T19" fmla="*/ 13573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9368" y="9002"/>
                  </a:moveTo>
                  <a:lnTo>
                    <a:pt x="9254" y="8422"/>
                  </a:lnTo>
                  <a:lnTo>
                    <a:pt x="9139" y="7935"/>
                  </a:lnTo>
                  <a:lnTo>
                    <a:pt x="8819" y="7355"/>
                  </a:lnTo>
                  <a:lnTo>
                    <a:pt x="8475" y="6728"/>
                  </a:lnTo>
                  <a:lnTo>
                    <a:pt x="8040" y="6287"/>
                  </a:lnTo>
                  <a:lnTo>
                    <a:pt x="7421" y="5707"/>
                  </a:lnTo>
                  <a:lnTo>
                    <a:pt x="6574" y="5429"/>
                  </a:lnTo>
                  <a:lnTo>
                    <a:pt x="5452" y="5313"/>
                  </a:lnTo>
                  <a:lnTo>
                    <a:pt x="4856" y="5220"/>
                  </a:lnTo>
                  <a:lnTo>
                    <a:pt x="4169" y="5220"/>
                  </a:lnTo>
                  <a:lnTo>
                    <a:pt x="3665" y="5104"/>
                  </a:lnTo>
                  <a:lnTo>
                    <a:pt x="3001" y="4872"/>
                  </a:lnTo>
                  <a:lnTo>
                    <a:pt x="2497" y="4756"/>
                  </a:lnTo>
                  <a:lnTo>
                    <a:pt x="2062" y="4408"/>
                  </a:lnTo>
                  <a:lnTo>
                    <a:pt x="1603" y="4083"/>
                  </a:lnTo>
                  <a:lnTo>
                    <a:pt x="1283" y="3689"/>
                  </a:lnTo>
                  <a:lnTo>
                    <a:pt x="1283" y="4315"/>
                  </a:lnTo>
                  <a:lnTo>
                    <a:pt x="1489" y="5104"/>
                  </a:lnTo>
                  <a:lnTo>
                    <a:pt x="1832" y="6055"/>
                  </a:lnTo>
                  <a:lnTo>
                    <a:pt x="2382" y="6914"/>
                  </a:lnTo>
                  <a:lnTo>
                    <a:pt x="2680" y="7471"/>
                  </a:lnTo>
                  <a:lnTo>
                    <a:pt x="3115" y="7935"/>
                  </a:lnTo>
                  <a:lnTo>
                    <a:pt x="3573" y="8213"/>
                  </a:lnTo>
                  <a:lnTo>
                    <a:pt x="4077" y="8654"/>
                  </a:lnTo>
                  <a:lnTo>
                    <a:pt x="4627" y="9002"/>
                  </a:lnTo>
                  <a:lnTo>
                    <a:pt x="5245" y="9234"/>
                  </a:lnTo>
                  <a:lnTo>
                    <a:pt x="6024" y="9443"/>
                  </a:lnTo>
                  <a:lnTo>
                    <a:pt x="6757" y="9628"/>
                  </a:lnTo>
                  <a:lnTo>
                    <a:pt x="5177" y="10069"/>
                  </a:lnTo>
                  <a:lnTo>
                    <a:pt x="3963" y="10649"/>
                  </a:lnTo>
                  <a:lnTo>
                    <a:pt x="3344" y="11044"/>
                  </a:lnTo>
                  <a:lnTo>
                    <a:pt x="2886" y="11600"/>
                  </a:lnTo>
                  <a:lnTo>
                    <a:pt x="2497" y="12041"/>
                  </a:lnTo>
                  <a:lnTo>
                    <a:pt x="1947" y="12343"/>
                  </a:lnTo>
                  <a:lnTo>
                    <a:pt x="1168" y="12668"/>
                  </a:lnTo>
                  <a:lnTo>
                    <a:pt x="0" y="12900"/>
                  </a:lnTo>
                  <a:lnTo>
                    <a:pt x="435" y="13248"/>
                  </a:lnTo>
                  <a:lnTo>
                    <a:pt x="779" y="13456"/>
                  </a:lnTo>
                  <a:lnTo>
                    <a:pt x="1283" y="13642"/>
                  </a:lnTo>
                  <a:lnTo>
                    <a:pt x="1718" y="13758"/>
                  </a:lnTo>
                  <a:lnTo>
                    <a:pt x="2680" y="13851"/>
                  </a:lnTo>
                  <a:lnTo>
                    <a:pt x="3573" y="13758"/>
                  </a:lnTo>
                  <a:lnTo>
                    <a:pt x="4512" y="13526"/>
                  </a:lnTo>
                  <a:lnTo>
                    <a:pt x="5360" y="13248"/>
                  </a:lnTo>
                  <a:lnTo>
                    <a:pt x="6139" y="12900"/>
                  </a:lnTo>
                  <a:lnTo>
                    <a:pt x="6757" y="12552"/>
                  </a:lnTo>
                  <a:lnTo>
                    <a:pt x="6459" y="13132"/>
                  </a:lnTo>
                  <a:lnTo>
                    <a:pt x="6139" y="13642"/>
                  </a:lnTo>
                  <a:lnTo>
                    <a:pt x="5910" y="14199"/>
                  </a:lnTo>
                  <a:lnTo>
                    <a:pt x="5681" y="14663"/>
                  </a:lnTo>
                  <a:lnTo>
                    <a:pt x="5681" y="15150"/>
                  </a:lnTo>
                  <a:lnTo>
                    <a:pt x="5681" y="15730"/>
                  </a:lnTo>
                  <a:lnTo>
                    <a:pt x="5681" y="16241"/>
                  </a:lnTo>
                  <a:lnTo>
                    <a:pt x="5795" y="16913"/>
                  </a:lnTo>
                  <a:lnTo>
                    <a:pt x="5910" y="17586"/>
                  </a:lnTo>
                  <a:lnTo>
                    <a:pt x="5910" y="18213"/>
                  </a:lnTo>
                  <a:lnTo>
                    <a:pt x="5795" y="18885"/>
                  </a:lnTo>
                  <a:lnTo>
                    <a:pt x="5566" y="19396"/>
                  </a:lnTo>
                  <a:lnTo>
                    <a:pt x="5245" y="19976"/>
                  </a:lnTo>
                  <a:lnTo>
                    <a:pt x="4971" y="20370"/>
                  </a:lnTo>
                  <a:lnTo>
                    <a:pt x="4512" y="20811"/>
                  </a:lnTo>
                  <a:lnTo>
                    <a:pt x="4077" y="21043"/>
                  </a:lnTo>
                  <a:lnTo>
                    <a:pt x="5177" y="20927"/>
                  </a:lnTo>
                  <a:lnTo>
                    <a:pt x="6253" y="20486"/>
                  </a:lnTo>
                  <a:lnTo>
                    <a:pt x="7421" y="19976"/>
                  </a:lnTo>
                  <a:lnTo>
                    <a:pt x="8361" y="19187"/>
                  </a:lnTo>
                  <a:lnTo>
                    <a:pt x="8819" y="18769"/>
                  </a:lnTo>
                  <a:lnTo>
                    <a:pt x="9139" y="18213"/>
                  </a:lnTo>
                  <a:lnTo>
                    <a:pt x="9437" y="17772"/>
                  </a:lnTo>
                  <a:lnTo>
                    <a:pt x="9643" y="17261"/>
                  </a:lnTo>
                  <a:lnTo>
                    <a:pt x="9872" y="16681"/>
                  </a:lnTo>
                  <a:lnTo>
                    <a:pt x="9872" y="16171"/>
                  </a:lnTo>
                  <a:lnTo>
                    <a:pt x="9872" y="15614"/>
                  </a:lnTo>
                  <a:lnTo>
                    <a:pt x="9758" y="15057"/>
                  </a:lnTo>
                  <a:lnTo>
                    <a:pt x="10216" y="15498"/>
                  </a:lnTo>
                  <a:lnTo>
                    <a:pt x="10537" y="16241"/>
                  </a:lnTo>
                  <a:lnTo>
                    <a:pt x="10834" y="17145"/>
                  </a:lnTo>
                  <a:lnTo>
                    <a:pt x="11041" y="18213"/>
                  </a:lnTo>
                  <a:lnTo>
                    <a:pt x="11155" y="19187"/>
                  </a:lnTo>
                  <a:lnTo>
                    <a:pt x="11155" y="20185"/>
                  </a:lnTo>
                  <a:lnTo>
                    <a:pt x="11155" y="20579"/>
                  </a:lnTo>
                  <a:lnTo>
                    <a:pt x="11041" y="21043"/>
                  </a:lnTo>
                  <a:lnTo>
                    <a:pt x="10926" y="21391"/>
                  </a:lnTo>
                  <a:lnTo>
                    <a:pt x="10766" y="21600"/>
                  </a:lnTo>
                  <a:lnTo>
                    <a:pt x="11499" y="21484"/>
                  </a:lnTo>
                  <a:lnTo>
                    <a:pt x="12323" y="21043"/>
                  </a:lnTo>
                  <a:lnTo>
                    <a:pt x="13102" y="20370"/>
                  </a:lnTo>
                  <a:lnTo>
                    <a:pt x="13606" y="19628"/>
                  </a:lnTo>
                  <a:lnTo>
                    <a:pt x="13950" y="19071"/>
                  </a:lnTo>
                  <a:lnTo>
                    <a:pt x="14064" y="18677"/>
                  </a:lnTo>
                  <a:lnTo>
                    <a:pt x="14179" y="18097"/>
                  </a:lnTo>
                  <a:lnTo>
                    <a:pt x="14293" y="17586"/>
                  </a:lnTo>
                  <a:lnTo>
                    <a:pt x="14179" y="16913"/>
                  </a:lnTo>
                  <a:lnTo>
                    <a:pt x="14064" y="16241"/>
                  </a:lnTo>
                  <a:lnTo>
                    <a:pt x="13835" y="15614"/>
                  </a:lnTo>
                  <a:lnTo>
                    <a:pt x="13560" y="14872"/>
                  </a:lnTo>
                  <a:lnTo>
                    <a:pt x="13950" y="14941"/>
                  </a:lnTo>
                  <a:lnTo>
                    <a:pt x="14408" y="15150"/>
                  </a:lnTo>
                  <a:lnTo>
                    <a:pt x="14843" y="15266"/>
                  </a:lnTo>
                  <a:lnTo>
                    <a:pt x="15232" y="15614"/>
                  </a:lnTo>
                  <a:lnTo>
                    <a:pt x="15576" y="15846"/>
                  </a:lnTo>
                  <a:lnTo>
                    <a:pt x="15897" y="16171"/>
                  </a:lnTo>
                  <a:lnTo>
                    <a:pt x="16126" y="16473"/>
                  </a:lnTo>
                  <a:lnTo>
                    <a:pt x="16240" y="16913"/>
                  </a:lnTo>
                  <a:lnTo>
                    <a:pt x="16515" y="17261"/>
                  </a:lnTo>
                  <a:lnTo>
                    <a:pt x="17088" y="17586"/>
                  </a:lnTo>
                  <a:lnTo>
                    <a:pt x="17798" y="17865"/>
                  </a:lnTo>
                  <a:lnTo>
                    <a:pt x="18576" y="18097"/>
                  </a:lnTo>
                  <a:lnTo>
                    <a:pt x="19424" y="18213"/>
                  </a:lnTo>
                  <a:lnTo>
                    <a:pt x="20317" y="18213"/>
                  </a:lnTo>
                  <a:lnTo>
                    <a:pt x="21050" y="18213"/>
                  </a:lnTo>
                  <a:lnTo>
                    <a:pt x="21600" y="17865"/>
                  </a:lnTo>
                  <a:lnTo>
                    <a:pt x="21165" y="17656"/>
                  </a:lnTo>
                  <a:lnTo>
                    <a:pt x="20592" y="17470"/>
                  </a:lnTo>
                  <a:lnTo>
                    <a:pt x="20088" y="17029"/>
                  </a:lnTo>
                  <a:lnTo>
                    <a:pt x="19653" y="16681"/>
                  </a:lnTo>
                  <a:lnTo>
                    <a:pt x="19195" y="16241"/>
                  </a:lnTo>
                  <a:lnTo>
                    <a:pt x="18920" y="15962"/>
                  </a:lnTo>
                  <a:lnTo>
                    <a:pt x="18576" y="15498"/>
                  </a:lnTo>
                  <a:lnTo>
                    <a:pt x="18576" y="15057"/>
                  </a:lnTo>
                  <a:lnTo>
                    <a:pt x="18485" y="14756"/>
                  </a:lnTo>
                  <a:lnTo>
                    <a:pt x="18256" y="14199"/>
                  </a:lnTo>
                  <a:lnTo>
                    <a:pt x="17912" y="13526"/>
                  </a:lnTo>
                  <a:lnTo>
                    <a:pt x="17523" y="13016"/>
                  </a:lnTo>
                  <a:lnTo>
                    <a:pt x="16973" y="12436"/>
                  </a:lnTo>
                  <a:lnTo>
                    <a:pt x="16355" y="12041"/>
                  </a:lnTo>
                  <a:lnTo>
                    <a:pt x="16011" y="11832"/>
                  </a:lnTo>
                  <a:lnTo>
                    <a:pt x="15690" y="11716"/>
                  </a:lnTo>
                  <a:lnTo>
                    <a:pt x="15232" y="11716"/>
                  </a:lnTo>
                  <a:lnTo>
                    <a:pt x="14843" y="11716"/>
                  </a:lnTo>
                  <a:lnTo>
                    <a:pt x="15461" y="11252"/>
                  </a:lnTo>
                  <a:lnTo>
                    <a:pt x="16126" y="10858"/>
                  </a:lnTo>
                  <a:lnTo>
                    <a:pt x="16973" y="10649"/>
                  </a:lnTo>
                  <a:lnTo>
                    <a:pt x="17798" y="10417"/>
                  </a:lnTo>
                  <a:lnTo>
                    <a:pt x="18806" y="10301"/>
                  </a:lnTo>
                  <a:lnTo>
                    <a:pt x="19653" y="10301"/>
                  </a:lnTo>
                  <a:lnTo>
                    <a:pt x="20478" y="10417"/>
                  </a:lnTo>
                  <a:lnTo>
                    <a:pt x="21256" y="10533"/>
                  </a:lnTo>
                  <a:lnTo>
                    <a:pt x="20707" y="9837"/>
                  </a:lnTo>
                  <a:lnTo>
                    <a:pt x="19859" y="9234"/>
                  </a:lnTo>
                  <a:lnTo>
                    <a:pt x="18806" y="8538"/>
                  </a:lnTo>
                  <a:lnTo>
                    <a:pt x="17637" y="8144"/>
                  </a:lnTo>
                  <a:lnTo>
                    <a:pt x="16973" y="8027"/>
                  </a:lnTo>
                  <a:lnTo>
                    <a:pt x="16355" y="7935"/>
                  </a:lnTo>
                  <a:lnTo>
                    <a:pt x="15805" y="7935"/>
                  </a:lnTo>
                  <a:lnTo>
                    <a:pt x="15118" y="8027"/>
                  </a:lnTo>
                  <a:lnTo>
                    <a:pt x="14614" y="8144"/>
                  </a:lnTo>
                  <a:lnTo>
                    <a:pt x="14064" y="8422"/>
                  </a:lnTo>
                  <a:lnTo>
                    <a:pt x="13606" y="8886"/>
                  </a:lnTo>
                  <a:lnTo>
                    <a:pt x="13217" y="9327"/>
                  </a:lnTo>
                  <a:lnTo>
                    <a:pt x="13606" y="8538"/>
                  </a:lnTo>
                  <a:lnTo>
                    <a:pt x="13950" y="7935"/>
                  </a:lnTo>
                  <a:lnTo>
                    <a:pt x="14293" y="7123"/>
                  </a:lnTo>
                  <a:lnTo>
                    <a:pt x="14499" y="6519"/>
                  </a:lnTo>
                  <a:lnTo>
                    <a:pt x="14614" y="5823"/>
                  </a:lnTo>
                  <a:lnTo>
                    <a:pt x="14614" y="5220"/>
                  </a:lnTo>
                  <a:lnTo>
                    <a:pt x="14408" y="4524"/>
                  </a:lnTo>
                  <a:lnTo>
                    <a:pt x="14064" y="3898"/>
                  </a:lnTo>
                  <a:lnTo>
                    <a:pt x="13606" y="3225"/>
                  </a:lnTo>
                  <a:lnTo>
                    <a:pt x="13331" y="2598"/>
                  </a:lnTo>
                  <a:lnTo>
                    <a:pt x="13102" y="2042"/>
                  </a:lnTo>
                  <a:lnTo>
                    <a:pt x="12896" y="1485"/>
                  </a:lnTo>
                  <a:lnTo>
                    <a:pt x="12781" y="1090"/>
                  </a:lnTo>
                  <a:lnTo>
                    <a:pt x="12667" y="626"/>
                  </a:lnTo>
                  <a:lnTo>
                    <a:pt x="12667" y="278"/>
                  </a:lnTo>
                  <a:lnTo>
                    <a:pt x="12667" y="0"/>
                  </a:lnTo>
                  <a:lnTo>
                    <a:pt x="12163" y="394"/>
                  </a:lnTo>
                  <a:lnTo>
                    <a:pt x="11728" y="974"/>
                  </a:lnTo>
                  <a:lnTo>
                    <a:pt x="11155" y="1601"/>
                  </a:lnTo>
                  <a:lnTo>
                    <a:pt x="10766" y="2390"/>
                  </a:lnTo>
                  <a:lnTo>
                    <a:pt x="10330" y="3109"/>
                  </a:lnTo>
                  <a:lnTo>
                    <a:pt x="10101" y="3898"/>
                  </a:lnTo>
                  <a:lnTo>
                    <a:pt x="9987" y="4524"/>
                  </a:lnTo>
                  <a:lnTo>
                    <a:pt x="10101" y="5220"/>
                  </a:lnTo>
                  <a:lnTo>
                    <a:pt x="10216" y="5823"/>
                  </a:lnTo>
                  <a:lnTo>
                    <a:pt x="10330" y="6403"/>
                  </a:lnTo>
                  <a:lnTo>
                    <a:pt x="10330" y="6914"/>
                  </a:lnTo>
                  <a:lnTo>
                    <a:pt x="10216" y="7471"/>
                  </a:lnTo>
                  <a:lnTo>
                    <a:pt x="10101" y="7935"/>
                  </a:lnTo>
                  <a:lnTo>
                    <a:pt x="9872" y="8329"/>
                  </a:lnTo>
                  <a:lnTo>
                    <a:pt x="9643" y="8654"/>
                  </a:lnTo>
                  <a:lnTo>
                    <a:pt x="9368" y="9002"/>
                  </a:lnTo>
                  <a:close/>
                </a:path>
              </a:pathLst>
            </a:custGeom>
            <a:solidFill>
              <a:srgbClr val="0080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107763" dir="2700000" algn="ctr" rotWithShape="0">
                <a:srgbClr val="808080"/>
              </a:outerShdw>
            </a:effectLst>
          </p:spPr>
          <p:txBody>
            <a:bodyPr/>
            <a:lstStyle/>
            <a:p>
              <a:pPr algn="ctr">
                <a:defRPr/>
              </a:pPr>
              <a:endParaRPr lang="en-US"/>
            </a:p>
          </p:txBody>
        </p:sp>
      </p:grpSp>
      <p:grpSp>
        <p:nvGrpSpPr>
          <p:cNvPr id="119825" name="Gruppieren 122"/>
          <p:cNvGrpSpPr>
            <a:grpSpLocks/>
          </p:cNvGrpSpPr>
          <p:nvPr/>
        </p:nvGrpSpPr>
        <p:grpSpPr bwMode="auto">
          <a:xfrm>
            <a:off x="2195513" y="4149725"/>
            <a:ext cx="504825" cy="439738"/>
            <a:chOff x="3779912" y="2780928"/>
            <a:chExt cx="504056" cy="440432"/>
          </a:xfrm>
        </p:grpSpPr>
        <p:sp>
          <p:nvSpPr>
            <p:cNvPr id="118" name="Stern mit 5 Zacken 117"/>
            <p:cNvSpPr/>
            <p:nvPr/>
          </p:nvSpPr>
          <p:spPr bwMode="auto">
            <a:xfrm>
              <a:off x="3851240" y="2780928"/>
              <a:ext cx="288485" cy="287791"/>
            </a:xfrm>
            <a:prstGeom prst="star5">
              <a:avLst/>
            </a:prstGeom>
            <a:solidFill>
              <a:srgbClr val="FFFF00"/>
            </a:solidFill>
            <a:ln w="127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90000" tIns="46800" rIns="90000" bIns="46800" anchor="ctr"/>
            <a:lstStyle/>
            <a:p>
              <a:pPr algn="ctr">
                <a:lnSpc>
                  <a:spcPct val="110000"/>
                </a:lnSpc>
                <a:defRPr/>
              </a:pPr>
              <a:endParaRPr lang="en-US" sz="1600"/>
            </a:p>
          </p:txBody>
        </p:sp>
        <p:sp>
          <p:nvSpPr>
            <p:cNvPr id="119" name="Stern mit 5 Zacken 118"/>
            <p:cNvSpPr/>
            <p:nvPr/>
          </p:nvSpPr>
          <p:spPr bwMode="auto">
            <a:xfrm>
              <a:off x="3779912" y="2933569"/>
              <a:ext cx="288485" cy="287791"/>
            </a:xfrm>
            <a:prstGeom prst="star5">
              <a:avLst/>
            </a:prstGeom>
            <a:solidFill>
              <a:srgbClr val="FFFF00"/>
            </a:solidFill>
            <a:ln w="127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90000" tIns="46800" rIns="90000" bIns="46800" anchor="ctr"/>
            <a:lstStyle/>
            <a:p>
              <a:pPr algn="ctr">
                <a:lnSpc>
                  <a:spcPct val="110000"/>
                </a:lnSpc>
                <a:defRPr/>
              </a:pPr>
              <a:endParaRPr lang="en-US" sz="1600"/>
            </a:p>
          </p:txBody>
        </p:sp>
        <p:sp>
          <p:nvSpPr>
            <p:cNvPr id="120" name="Stern mit 5 Zacken 119"/>
            <p:cNvSpPr/>
            <p:nvPr/>
          </p:nvSpPr>
          <p:spPr bwMode="auto">
            <a:xfrm>
              <a:off x="3924154" y="2925619"/>
              <a:ext cx="288485" cy="287790"/>
            </a:xfrm>
            <a:prstGeom prst="star5">
              <a:avLst/>
            </a:prstGeom>
            <a:solidFill>
              <a:srgbClr val="FFFF00"/>
            </a:solidFill>
            <a:ln w="127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90000" tIns="46800" rIns="90000" bIns="46800" anchor="ctr"/>
            <a:lstStyle/>
            <a:p>
              <a:pPr algn="ctr">
                <a:lnSpc>
                  <a:spcPct val="110000"/>
                </a:lnSpc>
                <a:defRPr/>
              </a:pPr>
              <a:endParaRPr lang="en-US" sz="1600"/>
            </a:p>
          </p:txBody>
        </p:sp>
        <p:sp>
          <p:nvSpPr>
            <p:cNvPr id="121" name="Stern mit 5 Zacken 120"/>
            <p:cNvSpPr/>
            <p:nvPr/>
          </p:nvSpPr>
          <p:spPr bwMode="auto">
            <a:xfrm>
              <a:off x="3779912" y="2852479"/>
              <a:ext cx="288485" cy="287790"/>
            </a:xfrm>
            <a:prstGeom prst="star5">
              <a:avLst/>
            </a:prstGeom>
            <a:solidFill>
              <a:srgbClr val="FFFF00"/>
            </a:solidFill>
            <a:ln w="127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90000" tIns="46800" rIns="90000" bIns="46800" anchor="ctr"/>
            <a:lstStyle/>
            <a:p>
              <a:pPr algn="ctr">
                <a:lnSpc>
                  <a:spcPct val="110000"/>
                </a:lnSpc>
                <a:defRPr/>
              </a:pPr>
              <a:endParaRPr lang="en-US" sz="1600"/>
            </a:p>
          </p:txBody>
        </p:sp>
        <p:sp>
          <p:nvSpPr>
            <p:cNvPr id="122" name="Stern mit 5 Zacken 121"/>
            <p:cNvSpPr/>
            <p:nvPr/>
          </p:nvSpPr>
          <p:spPr bwMode="auto">
            <a:xfrm>
              <a:off x="3995483" y="2925619"/>
              <a:ext cx="288485" cy="287790"/>
            </a:xfrm>
            <a:prstGeom prst="star5">
              <a:avLst/>
            </a:prstGeom>
            <a:solidFill>
              <a:srgbClr val="FFFF00"/>
            </a:solidFill>
            <a:ln w="127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90000" tIns="46800" rIns="90000" bIns="46800" anchor="ctr"/>
            <a:lstStyle/>
            <a:p>
              <a:pPr algn="ctr">
                <a:lnSpc>
                  <a:spcPct val="110000"/>
                </a:lnSpc>
                <a:defRPr/>
              </a:pPr>
              <a:endParaRPr lang="en-US" sz="1600"/>
            </a:p>
          </p:txBody>
        </p:sp>
      </p:grpSp>
      <p:grpSp>
        <p:nvGrpSpPr>
          <p:cNvPr id="124" name="Gruppieren 123"/>
          <p:cNvGrpSpPr/>
          <p:nvPr/>
        </p:nvGrpSpPr>
        <p:grpSpPr>
          <a:xfrm>
            <a:off x="5508104" y="4149080"/>
            <a:ext cx="504056" cy="440432"/>
            <a:chOff x="3779912" y="2780928"/>
            <a:chExt cx="504056" cy="440432"/>
          </a:xfrm>
          <a:solidFill>
            <a:srgbClr val="00B0F0"/>
          </a:solidFill>
        </p:grpSpPr>
        <p:sp>
          <p:nvSpPr>
            <p:cNvPr id="125" name="Stern mit 5 Zacken 124"/>
            <p:cNvSpPr/>
            <p:nvPr/>
          </p:nvSpPr>
          <p:spPr bwMode="auto">
            <a:xfrm>
              <a:off x="3851920" y="2780928"/>
              <a:ext cx="288032" cy="288032"/>
            </a:xfrm>
            <a:prstGeom prst="star5">
              <a:avLst/>
            </a:prstGeom>
            <a:grpFill/>
            <a:ln w="127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90000" tIns="46800" rIns="90000" bIns="46800" anchor="ctr"/>
            <a:lstStyle/>
            <a:p>
              <a:pPr algn="ctr">
                <a:lnSpc>
                  <a:spcPct val="110000"/>
                </a:lnSpc>
                <a:defRPr/>
              </a:pPr>
              <a:endParaRPr lang="en-US" sz="1600"/>
            </a:p>
          </p:txBody>
        </p:sp>
        <p:sp>
          <p:nvSpPr>
            <p:cNvPr id="126" name="Stern mit 5 Zacken 125"/>
            <p:cNvSpPr/>
            <p:nvPr/>
          </p:nvSpPr>
          <p:spPr bwMode="auto">
            <a:xfrm>
              <a:off x="3779912" y="2933328"/>
              <a:ext cx="288032" cy="288032"/>
            </a:xfrm>
            <a:prstGeom prst="star5">
              <a:avLst/>
            </a:prstGeom>
            <a:grpFill/>
            <a:ln w="127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90000" tIns="46800" rIns="90000" bIns="46800" anchor="ctr"/>
            <a:lstStyle/>
            <a:p>
              <a:pPr algn="ctr">
                <a:lnSpc>
                  <a:spcPct val="110000"/>
                </a:lnSpc>
                <a:defRPr/>
              </a:pPr>
              <a:endParaRPr lang="en-US" sz="1600"/>
            </a:p>
          </p:txBody>
        </p:sp>
        <p:sp>
          <p:nvSpPr>
            <p:cNvPr id="127" name="Stern mit 5 Zacken 126"/>
            <p:cNvSpPr/>
            <p:nvPr/>
          </p:nvSpPr>
          <p:spPr bwMode="auto">
            <a:xfrm>
              <a:off x="3923928" y="2924944"/>
              <a:ext cx="288032" cy="288032"/>
            </a:xfrm>
            <a:prstGeom prst="star5">
              <a:avLst/>
            </a:prstGeom>
            <a:grpFill/>
            <a:ln w="127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90000" tIns="46800" rIns="90000" bIns="46800" anchor="ctr"/>
            <a:lstStyle/>
            <a:p>
              <a:pPr algn="ctr">
                <a:lnSpc>
                  <a:spcPct val="110000"/>
                </a:lnSpc>
                <a:defRPr/>
              </a:pPr>
              <a:endParaRPr lang="en-US" sz="1600"/>
            </a:p>
          </p:txBody>
        </p:sp>
        <p:sp>
          <p:nvSpPr>
            <p:cNvPr id="128" name="Stern mit 5 Zacken 127"/>
            <p:cNvSpPr/>
            <p:nvPr/>
          </p:nvSpPr>
          <p:spPr bwMode="auto">
            <a:xfrm>
              <a:off x="3779912" y="2852936"/>
              <a:ext cx="288032" cy="288032"/>
            </a:xfrm>
            <a:prstGeom prst="star5">
              <a:avLst/>
            </a:prstGeom>
            <a:grpFill/>
            <a:ln w="127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90000" tIns="46800" rIns="90000" bIns="46800" anchor="ctr"/>
            <a:lstStyle/>
            <a:p>
              <a:pPr algn="ctr">
                <a:lnSpc>
                  <a:spcPct val="110000"/>
                </a:lnSpc>
                <a:defRPr/>
              </a:pPr>
              <a:endParaRPr lang="en-US" sz="1600"/>
            </a:p>
          </p:txBody>
        </p:sp>
        <p:sp>
          <p:nvSpPr>
            <p:cNvPr id="129" name="Stern mit 5 Zacken 128"/>
            <p:cNvSpPr/>
            <p:nvPr/>
          </p:nvSpPr>
          <p:spPr bwMode="auto">
            <a:xfrm>
              <a:off x="3995936" y="2924944"/>
              <a:ext cx="288032" cy="288032"/>
            </a:xfrm>
            <a:prstGeom prst="star5">
              <a:avLst/>
            </a:prstGeom>
            <a:grpFill/>
            <a:ln w="127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90000" tIns="46800" rIns="90000" bIns="46800" anchor="ctr"/>
            <a:lstStyle/>
            <a:p>
              <a:pPr algn="ctr">
                <a:lnSpc>
                  <a:spcPct val="110000"/>
                </a:lnSpc>
                <a:defRPr/>
              </a:pPr>
              <a:endParaRPr lang="en-US" sz="1600"/>
            </a:p>
          </p:txBody>
        </p:sp>
      </p:grpSp>
      <p:grpSp>
        <p:nvGrpSpPr>
          <p:cNvPr id="130" name="Gruppieren 129"/>
          <p:cNvGrpSpPr/>
          <p:nvPr/>
        </p:nvGrpSpPr>
        <p:grpSpPr>
          <a:xfrm>
            <a:off x="7668344" y="4149080"/>
            <a:ext cx="504056" cy="440432"/>
            <a:chOff x="3779912" y="2780928"/>
            <a:chExt cx="504056" cy="440432"/>
          </a:xfrm>
          <a:solidFill>
            <a:srgbClr val="00B0F0"/>
          </a:solidFill>
        </p:grpSpPr>
        <p:sp>
          <p:nvSpPr>
            <p:cNvPr id="131" name="Stern mit 5 Zacken 130"/>
            <p:cNvSpPr/>
            <p:nvPr/>
          </p:nvSpPr>
          <p:spPr bwMode="auto">
            <a:xfrm>
              <a:off x="3851920" y="2780928"/>
              <a:ext cx="288032" cy="288032"/>
            </a:xfrm>
            <a:prstGeom prst="star5">
              <a:avLst/>
            </a:prstGeom>
            <a:grpFill/>
            <a:ln w="127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90000" tIns="46800" rIns="90000" bIns="46800" anchor="ctr"/>
            <a:lstStyle/>
            <a:p>
              <a:pPr algn="ctr">
                <a:lnSpc>
                  <a:spcPct val="110000"/>
                </a:lnSpc>
                <a:defRPr/>
              </a:pPr>
              <a:endParaRPr lang="en-US" sz="1600"/>
            </a:p>
          </p:txBody>
        </p:sp>
        <p:sp>
          <p:nvSpPr>
            <p:cNvPr id="132" name="Stern mit 5 Zacken 131"/>
            <p:cNvSpPr/>
            <p:nvPr/>
          </p:nvSpPr>
          <p:spPr bwMode="auto">
            <a:xfrm>
              <a:off x="3779912" y="2933328"/>
              <a:ext cx="288032" cy="288032"/>
            </a:xfrm>
            <a:prstGeom prst="star5">
              <a:avLst/>
            </a:prstGeom>
            <a:grpFill/>
            <a:ln w="127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90000" tIns="46800" rIns="90000" bIns="46800" anchor="ctr"/>
            <a:lstStyle/>
            <a:p>
              <a:pPr algn="ctr">
                <a:lnSpc>
                  <a:spcPct val="110000"/>
                </a:lnSpc>
                <a:defRPr/>
              </a:pPr>
              <a:endParaRPr lang="en-US" sz="1600"/>
            </a:p>
          </p:txBody>
        </p:sp>
        <p:sp>
          <p:nvSpPr>
            <p:cNvPr id="133" name="Stern mit 5 Zacken 132"/>
            <p:cNvSpPr/>
            <p:nvPr/>
          </p:nvSpPr>
          <p:spPr bwMode="auto">
            <a:xfrm>
              <a:off x="3923928" y="2924944"/>
              <a:ext cx="288032" cy="288032"/>
            </a:xfrm>
            <a:prstGeom prst="star5">
              <a:avLst/>
            </a:prstGeom>
            <a:grpFill/>
            <a:ln w="127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90000" tIns="46800" rIns="90000" bIns="46800" anchor="ctr"/>
            <a:lstStyle/>
            <a:p>
              <a:pPr algn="ctr">
                <a:lnSpc>
                  <a:spcPct val="110000"/>
                </a:lnSpc>
                <a:defRPr/>
              </a:pPr>
              <a:endParaRPr lang="en-US" sz="1600"/>
            </a:p>
          </p:txBody>
        </p:sp>
        <p:sp>
          <p:nvSpPr>
            <p:cNvPr id="134" name="Stern mit 5 Zacken 133"/>
            <p:cNvSpPr/>
            <p:nvPr/>
          </p:nvSpPr>
          <p:spPr bwMode="auto">
            <a:xfrm>
              <a:off x="3779912" y="2852936"/>
              <a:ext cx="288032" cy="288032"/>
            </a:xfrm>
            <a:prstGeom prst="star5">
              <a:avLst/>
            </a:prstGeom>
            <a:grpFill/>
            <a:ln w="127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90000" tIns="46800" rIns="90000" bIns="46800" anchor="ctr"/>
            <a:lstStyle/>
            <a:p>
              <a:pPr algn="ctr">
                <a:lnSpc>
                  <a:spcPct val="110000"/>
                </a:lnSpc>
                <a:defRPr/>
              </a:pPr>
              <a:endParaRPr lang="en-US" sz="1600"/>
            </a:p>
          </p:txBody>
        </p:sp>
        <p:sp>
          <p:nvSpPr>
            <p:cNvPr id="135" name="Stern mit 5 Zacken 134"/>
            <p:cNvSpPr/>
            <p:nvPr/>
          </p:nvSpPr>
          <p:spPr bwMode="auto">
            <a:xfrm>
              <a:off x="3995936" y="2924944"/>
              <a:ext cx="288032" cy="288032"/>
            </a:xfrm>
            <a:prstGeom prst="star5">
              <a:avLst/>
            </a:prstGeom>
            <a:grpFill/>
            <a:ln w="127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90000" tIns="46800" rIns="90000" bIns="46800" anchor="ctr"/>
            <a:lstStyle/>
            <a:p>
              <a:pPr algn="ctr">
                <a:lnSpc>
                  <a:spcPct val="110000"/>
                </a:lnSpc>
                <a:defRPr/>
              </a:pPr>
              <a:endParaRPr lang="en-US" sz="1600"/>
            </a:p>
          </p:txBody>
        </p:sp>
      </p:grpSp>
      <p:sp>
        <p:nvSpPr>
          <p:cNvPr id="119828" name="Textfeld 136"/>
          <p:cNvSpPr txBox="1">
            <a:spLocks noChangeArrowheads="1"/>
          </p:cNvSpPr>
          <p:nvPr/>
        </p:nvSpPr>
        <p:spPr bwMode="auto">
          <a:xfrm>
            <a:off x="755650" y="5589588"/>
            <a:ext cx="2762250" cy="363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600"/>
              <a:t>Растения короткого дня (длинной ночи)</a:t>
            </a:r>
          </a:p>
        </p:txBody>
      </p:sp>
      <p:sp>
        <p:nvSpPr>
          <p:cNvPr id="119829" name="Textfeld 137"/>
          <p:cNvSpPr txBox="1">
            <a:spLocks noChangeArrowheads="1"/>
          </p:cNvSpPr>
          <p:nvPr/>
        </p:nvSpPr>
        <p:spPr bwMode="auto">
          <a:xfrm>
            <a:off x="5057775" y="5589588"/>
            <a:ext cx="2798763" cy="363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600"/>
              <a:t>Растения длинного дня (короткой ночи)</a:t>
            </a:r>
          </a:p>
        </p:txBody>
      </p:sp>
      <p:sp>
        <p:nvSpPr>
          <p:cNvPr id="139" name="Rechteck 138"/>
          <p:cNvSpPr/>
          <p:nvPr/>
        </p:nvSpPr>
        <p:spPr bwMode="auto">
          <a:xfrm>
            <a:off x="900113" y="2133600"/>
            <a:ext cx="863600" cy="1008063"/>
          </a:xfrm>
          <a:prstGeom prst="rect">
            <a:avLst/>
          </a:prstGeom>
          <a:solidFill>
            <a:srgbClr val="FFFF00"/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90000" tIns="46800" rIns="90000" bIns="46800" anchor="ctr"/>
          <a:lstStyle/>
          <a:p>
            <a:pPr algn="ctr">
              <a:lnSpc>
                <a:spcPct val="110000"/>
              </a:lnSpc>
              <a:defRPr/>
            </a:pPr>
            <a:r>
              <a:rPr lang="en-US" sz="1600" dirty="0"/>
              <a:t>Свет</a:t>
            </a:r>
          </a:p>
        </p:txBody>
      </p:sp>
      <p:sp>
        <p:nvSpPr>
          <p:cNvPr id="140" name="Rechteck 139"/>
          <p:cNvSpPr/>
          <p:nvPr/>
        </p:nvSpPr>
        <p:spPr bwMode="auto">
          <a:xfrm>
            <a:off x="900113" y="3141663"/>
            <a:ext cx="863600" cy="719137"/>
          </a:xfrm>
          <a:prstGeom prst="rect">
            <a:avLst/>
          </a:prstGeom>
          <a:solidFill>
            <a:schemeClr val="accent6">
              <a:lumMod val="25000"/>
            </a:schemeClr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90000" tIns="46800" rIns="90000" bIns="46800" anchor="ctr"/>
          <a:lstStyle/>
          <a:p>
            <a:pPr algn="ctr">
              <a:lnSpc>
                <a:spcPct val="110000"/>
              </a:lnSpc>
              <a:defRPr/>
            </a:pPr>
            <a:r>
              <a:rPr lang="en-US" sz="1600" dirty="0">
                <a:solidFill>
                  <a:schemeClr val="bg1"/>
                </a:solidFill>
              </a:rPr>
              <a:t>Тем-</a:t>
            </a:r>
          </a:p>
          <a:p>
            <a:pPr algn="ctr">
              <a:lnSpc>
                <a:spcPct val="110000"/>
              </a:lnSpc>
              <a:defRPr/>
            </a:pPr>
            <a:r>
              <a:rPr lang="en-US" sz="1600" dirty="0">
                <a:solidFill>
                  <a:schemeClr val="bg1"/>
                </a:solidFill>
              </a:rPr>
              <a:t>нота</a:t>
            </a: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141" name="Rechteck 140"/>
          <p:cNvSpPr/>
          <p:nvPr/>
        </p:nvSpPr>
        <p:spPr bwMode="auto">
          <a:xfrm>
            <a:off x="1979613" y="2133600"/>
            <a:ext cx="863600" cy="647700"/>
          </a:xfrm>
          <a:prstGeom prst="rect">
            <a:avLst/>
          </a:prstGeom>
          <a:solidFill>
            <a:srgbClr val="FFFF00"/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90000" tIns="46800" rIns="90000" bIns="46800" anchor="ctr"/>
          <a:lstStyle/>
          <a:p>
            <a:pPr algn="ctr">
              <a:lnSpc>
                <a:spcPct val="110000"/>
              </a:lnSpc>
              <a:defRPr/>
            </a:pPr>
            <a:endParaRPr lang="en-US" sz="1600"/>
          </a:p>
        </p:txBody>
      </p:sp>
      <p:sp>
        <p:nvSpPr>
          <p:cNvPr id="142" name="Rechteck 141"/>
          <p:cNvSpPr/>
          <p:nvPr/>
        </p:nvSpPr>
        <p:spPr bwMode="auto">
          <a:xfrm>
            <a:off x="1979613" y="2781300"/>
            <a:ext cx="863600" cy="1079500"/>
          </a:xfrm>
          <a:prstGeom prst="rect">
            <a:avLst/>
          </a:prstGeom>
          <a:solidFill>
            <a:schemeClr val="accent6">
              <a:lumMod val="25000"/>
            </a:schemeClr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90000" tIns="46800" rIns="90000" bIns="46800" anchor="ctr"/>
          <a:lstStyle/>
          <a:p>
            <a:pPr algn="ctr">
              <a:lnSpc>
                <a:spcPct val="110000"/>
              </a:lnSpc>
              <a:defRPr/>
            </a:pPr>
            <a:endParaRPr lang="en-US" sz="1600"/>
          </a:p>
        </p:txBody>
      </p:sp>
      <p:sp>
        <p:nvSpPr>
          <p:cNvPr id="143" name="Rechteck 142"/>
          <p:cNvSpPr/>
          <p:nvPr/>
        </p:nvSpPr>
        <p:spPr bwMode="auto">
          <a:xfrm>
            <a:off x="3059113" y="2133600"/>
            <a:ext cx="865187" cy="647700"/>
          </a:xfrm>
          <a:prstGeom prst="rect">
            <a:avLst/>
          </a:prstGeom>
          <a:solidFill>
            <a:srgbClr val="FFFF00"/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90000" tIns="46800" rIns="90000" bIns="46800" anchor="ctr"/>
          <a:lstStyle/>
          <a:p>
            <a:pPr algn="ctr">
              <a:lnSpc>
                <a:spcPct val="110000"/>
              </a:lnSpc>
              <a:defRPr/>
            </a:pPr>
            <a:endParaRPr lang="en-US" sz="1600"/>
          </a:p>
        </p:txBody>
      </p:sp>
      <p:sp>
        <p:nvSpPr>
          <p:cNvPr id="144" name="Rechteck 143"/>
          <p:cNvSpPr/>
          <p:nvPr/>
        </p:nvSpPr>
        <p:spPr bwMode="auto">
          <a:xfrm>
            <a:off x="3059113" y="2781300"/>
            <a:ext cx="865187" cy="1079500"/>
          </a:xfrm>
          <a:prstGeom prst="rect">
            <a:avLst/>
          </a:prstGeom>
          <a:solidFill>
            <a:schemeClr val="accent6">
              <a:lumMod val="25000"/>
            </a:schemeClr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90000" tIns="46800" rIns="90000" bIns="46800" anchor="ctr"/>
          <a:lstStyle/>
          <a:p>
            <a:pPr algn="ctr">
              <a:lnSpc>
                <a:spcPct val="110000"/>
              </a:lnSpc>
              <a:defRPr/>
            </a:pPr>
            <a:endParaRPr lang="en-US" sz="1600"/>
          </a:p>
        </p:txBody>
      </p:sp>
      <p:sp>
        <p:nvSpPr>
          <p:cNvPr id="146" name="Rechteck 145"/>
          <p:cNvSpPr/>
          <p:nvPr/>
        </p:nvSpPr>
        <p:spPr bwMode="auto">
          <a:xfrm>
            <a:off x="3132138" y="3213100"/>
            <a:ext cx="647700" cy="287338"/>
          </a:xfrm>
          <a:prstGeom prst="rect">
            <a:avLst/>
          </a:prstGeom>
          <a:solidFill>
            <a:srgbClr val="C00000"/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90000" tIns="46800" rIns="90000" bIns="46800" anchor="ctr"/>
          <a:lstStyle/>
          <a:p>
            <a:pPr algn="ctr">
              <a:lnSpc>
                <a:spcPct val="110000"/>
              </a:lnSpc>
            </a:pPr>
            <a:r>
              <a:rPr lang="en-US" sz="1000" b="1">
                <a:solidFill>
                  <a:schemeClr val="bg1"/>
                </a:solidFill>
              </a:rPr>
              <a:t>Вспышка</a:t>
            </a:r>
            <a:r>
              <a:rPr lang="ru-RU" sz="1000" b="1">
                <a:solidFill>
                  <a:schemeClr val="bg1"/>
                </a:solidFill>
              </a:rPr>
              <a:t/>
            </a:r>
            <a:br>
              <a:rPr lang="ru-RU" sz="1000" b="1">
                <a:solidFill>
                  <a:schemeClr val="bg1"/>
                </a:solidFill>
              </a:rPr>
            </a:br>
            <a:r>
              <a:rPr lang="en-US" sz="1000" b="1">
                <a:solidFill>
                  <a:schemeClr val="bg1"/>
                </a:solidFill>
              </a:rPr>
              <a:t>света</a:t>
            </a:r>
          </a:p>
        </p:txBody>
      </p:sp>
      <p:sp>
        <p:nvSpPr>
          <p:cNvPr id="147" name="Rechteck 146"/>
          <p:cNvSpPr/>
          <p:nvPr/>
        </p:nvSpPr>
        <p:spPr bwMode="auto">
          <a:xfrm>
            <a:off x="5292725" y="2133600"/>
            <a:ext cx="863600" cy="1008063"/>
          </a:xfrm>
          <a:prstGeom prst="rect">
            <a:avLst/>
          </a:prstGeom>
          <a:solidFill>
            <a:srgbClr val="FFFF00"/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90000" tIns="46800" rIns="90000" bIns="46800" anchor="ctr"/>
          <a:lstStyle/>
          <a:p>
            <a:pPr algn="ctr">
              <a:lnSpc>
                <a:spcPct val="110000"/>
              </a:lnSpc>
              <a:defRPr/>
            </a:pPr>
            <a:endParaRPr lang="en-US" sz="1600"/>
          </a:p>
        </p:txBody>
      </p:sp>
      <p:sp>
        <p:nvSpPr>
          <p:cNvPr id="148" name="Rechteck 147"/>
          <p:cNvSpPr/>
          <p:nvPr/>
        </p:nvSpPr>
        <p:spPr bwMode="auto">
          <a:xfrm>
            <a:off x="5292725" y="3141663"/>
            <a:ext cx="863600" cy="719137"/>
          </a:xfrm>
          <a:prstGeom prst="rect">
            <a:avLst/>
          </a:prstGeom>
          <a:solidFill>
            <a:schemeClr val="accent6">
              <a:lumMod val="25000"/>
            </a:schemeClr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90000" tIns="46800" rIns="90000" bIns="46800" anchor="ctr"/>
          <a:lstStyle/>
          <a:p>
            <a:pPr algn="ctr">
              <a:lnSpc>
                <a:spcPct val="110000"/>
              </a:lnSpc>
              <a:defRPr/>
            </a:pPr>
            <a:endParaRPr lang="en-US" sz="1600"/>
          </a:p>
        </p:txBody>
      </p:sp>
      <p:sp>
        <p:nvSpPr>
          <p:cNvPr id="149" name="Rechteck 148"/>
          <p:cNvSpPr/>
          <p:nvPr/>
        </p:nvSpPr>
        <p:spPr bwMode="auto">
          <a:xfrm>
            <a:off x="6372225" y="2133600"/>
            <a:ext cx="863600" cy="647700"/>
          </a:xfrm>
          <a:prstGeom prst="rect">
            <a:avLst/>
          </a:prstGeom>
          <a:solidFill>
            <a:srgbClr val="FFFF00"/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90000" tIns="46800" rIns="90000" bIns="46800" anchor="ctr"/>
          <a:lstStyle/>
          <a:p>
            <a:pPr algn="ctr">
              <a:lnSpc>
                <a:spcPct val="110000"/>
              </a:lnSpc>
              <a:defRPr/>
            </a:pPr>
            <a:endParaRPr lang="en-US" sz="1600"/>
          </a:p>
        </p:txBody>
      </p:sp>
      <p:sp>
        <p:nvSpPr>
          <p:cNvPr id="150" name="Rechteck 149"/>
          <p:cNvSpPr/>
          <p:nvPr/>
        </p:nvSpPr>
        <p:spPr bwMode="auto">
          <a:xfrm>
            <a:off x="6372225" y="2781300"/>
            <a:ext cx="863600" cy="1079500"/>
          </a:xfrm>
          <a:prstGeom prst="rect">
            <a:avLst/>
          </a:prstGeom>
          <a:solidFill>
            <a:schemeClr val="accent6">
              <a:lumMod val="25000"/>
            </a:schemeClr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90000" tIns="46800" rIns="90000" bIns="46800" anchor="ctr"/>
          <a:lstStyle/>
          <a:p>
            <a:pPr algn="ctr">
              <a:lnSpc>
                <a:spcPct val="110000"/>
              </a:lnSpc>
              <a:defRPr/>
            </a:pPr>
            <a:endParaRPr lang="en-US" sz="1600"/>
          </a:p>
        </p:txBody>
      </p:sp>
      <p:sp>
        <p:nvSpPr>
          <p:cNvPr id="151" name="Rechteck 150"/>
          <p:cNvSpPr/>
          <p:nvPr/>
        </p:nvSpPr>
        <p:spPr bwMode="auto">
          <a:xfrm>
            <a:off x="7451725" y="2133600"/>
            <a:ext cx="865188" cy="647700"/>
          </a:xfrm>
          <a:prstGeom prst="rect">
            <a:avLst/>
          </a:prstGeom>
          <a:solidFill>
            <a:srgbClr val="FFFF00"/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90000" tIns="46800" rIns="90000" bIns="46800" anchor="ctr"/>
          <a:lstStyle/>
          <a:p>
            <a:pPr algn="ctr">
              <a:lnSpc>
                <a:spcPct val="110000"/>
              </a:lnSpc>
              <a:defRPr/>
            </a:pPr>
            <a:endParaRPr lang="en-US" sz="1600"/>
          </a:p>
        </p:txBody>
      </p:sp>
      <p:sp>
        <p:nvSpPr>
          <p:cNvPr id="152" name="Rechteck 151"/>
          <p:cNvSpPr/>
          <p:nvPr/>
        </p:nvSpPr>
        <p:spPr bwMode="auto">
          <a:xfrm>
            <a:off x="7451725" y="2781300"/>
            <a:ext cx="865188" cy="1079500"/>
          </a:xfrm>
          <a:prstGeom prst="rect">
            <a:avLst/>
          </a:prstGeom>
          <a:solidFill>
            <a:schemeClr val="accent6">
              <a:lumMod val="25000"/>
            </a:schemeClr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90000" tIns="46800" rIns="90000" bIns="46800" anchor="ctr"/>
          <a:lstStyle/>
          <a:p>
            <a:pPr algn="ctr">
              <a:lnSpc>
                <a:spcPct val="110000"/>
              </a:lnSpc>
              <a:defRPr/>
            </a:pPr>
            <a:endParaRPr lang="en-US" sz="1600"/>
          </a:p>
        </p:txBody>
      </p:sp>
      <p:sp>
        <p:nvSpPr>
          <p:cNvPr id="119843" name="Pfeil nach oben und unten 154"/>
          <p:cNvSpPr>
            <a:spLocks noChangeArrowheads="1"/>
          </p:cNvSpPr>
          <p:nvPr/>
        </p:nvSpPr>
        <p:spPr bwMode="auto">
          <a:xfrm>
            <a:off x="4105275" y="2133600"/>
            <a:ext cx="1058863" cy="1727200"/>
          </a:xfrm>
          <a:prstGeom prst="upDownArrow">
            <a:avLst>
              <a:gd name="adj1" fmla="val 50000"/>
              <a:gd name="adj2" fmla="val 50015"/>
            </a:avLst>
          </a:prstGeom>
          <a:solidFill>
            <a:schemeClr val="bg1"/>
          </a:solidFill>
          <a:ln w="28575" algn="ctr">
            <a:solidFill>
              <a:schemeClr val="accent1"/>
            </a:solidFill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pPr algn="ctr">
              <a:lnSpc>
                <a:spcPct val="110000"/>
              </a:lnSpc>
            </a:pPr>
            <a:r>
              <a:rPr lang="en-US" sz="1600"/>
              <a:t>24 ч</a:t>
            </a:r>
          </a:p>
        </p:txBody>
      </p:sp>
      <p:sp>
        <p:nvSpPr>
          <p:cNvPr id="156" name="Rechteck 155"/>
          <p:cNvSpPr/>
          <p:nvPr/>
        </p:nvSpPr>
        <p:spPr bwMode="auto">
          <a:xfrm>
            <a:off x="7451725" y="3213100"/>
            <a:ext cx="865188" cy="360363"/>
          </a:xfrm>
          <a:prstGeom prst="rect">
            <a:avLst/>
          </a:prstGeom>
          <a:solidFill>
            <a:srgbClr val="C00000"/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90000" tIns="46800" rIns="90000" bIns="46800" anchor="ctr"/>
          <a:lstStyle/>
          <a:p>
            <a:pPr algn="ctr">
              <a:lnSpc>
                <a:spcPct val="110000"/>
              </a:lnSpc>
            </a:pPr>
            <a:r>
              <a:rPr lang="en-US" sz="1000" b="1">
                <a:solidFill>
                  <a:schemeClr val="bg1"/>
                </a:solidFill>
              </a:rPr>
              <a:t>Световой</a:t>
            </a:r>
            <a:r>
              <a:rPr lang="ru-RU" sz="1000" b="1">
                <a:solidFill>
                  <a:schemeClr val="bg1"/>
                </a:solidFill>
              </a:rPr>
              <a:t/>
            </a:r>
            <a:br>
              <a:rPr lang="ru-RU" sz="1000" b="1">
                <a:solidFill>
                  <a:schemeClr val="bg1"/>
                </a:solidFill>
              </a:rPr>
            </a:br>
            <a:r>
              <a:rPr lang="en-US" sz="1000" b="1">
                <a:solidFill>
                  <a:schemeClr val="bg1"/>
                </a:solidFill>
              </a:rPr>
              <a:t>период</a:t>
            </a:r>
          </a:p>
        </p:txBody>
      </p:sp>
      <p:cxnSp>
        <p:nvCxnSpPr>
          <p:cNvPr id="119845" name="Gerade Verbindung 157"/>
          <p:cNvCxnSpPr>
            <a:cxnSpLocks noChangeShapeType="1"/>
          </p:cNvCxnSpPr>
          <p:nvPr/>
        </p:nvCxnSpPr>
        <p:spPr bwMode="auto">
          <a:xfrm>
            <a:off x="539750" y="3068638"/>
            <a:ext cx="3671888" cy="0"/>
          </a:xfrm>
          <a:prstGeom prst="line">
            <a:avLst/>
          </a:prstGeom>
          <a:noFill/>
          <a:ln w="28575" algn="ctr">
            <a:solidFill>
              <a:schemeClr val="accent1"/>
            </a:solidFill>
            <a:round/>
            <a:headEnd/>
            <a:tailEnd/>
          </a:ln>
        </p:spPr>
      </p:cxnSp>
      <p:sp>
        <p:nvSpPr>
          <p:cNvPr id="119846" name="Textfeld 158"/>
          <p:cNvSpPr txBox="1">
            <a:spLocks noChangeArrowheads="1"/>
          </p:cNvSpPr>
          <p:nvPr/>
        </p:nvSpPr>
        <p:spPr bwMode="auto">
          <a:xfrm>
            <a:off x="0" y="2492375"/>
            <a:ext cx="779463" cy="1503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200">
                <a:solidFill>
                  <a:schemeClr val="accent1"/>
                </a:solidFill>
              </a:rPr>
              <a:t>Критическая</a:t>
            </a:r>
          </a:p>
          <a:p>
            <a:pPr algn="ctr">
              <a:lnSpc>
                <a:spcPct val="110000"/>
              </a:lnSpc>
            </a:pPr>
            <a:r>
              <a:rPr lang="en-US" sz="1200">
                <a:solidFill>
                  <a:schemeClr val="accent1"/>
                </a:solidFill>
              </a:rPr>
              <a:t>продолжительность</a:t>
            </a:r>
          </a:p>
          <a:p>
            <a:pPr algn="ctr">
              <a:lnSpc>
                <a:spcPct val="110000"/>
              </a:lnSpc>
            </a:pPr>
            <a:r>
              <a:rPr lang="en-US" sz="1200">
                <a:solidFill>
                  <a:schemeClr val="accent1"/>
                </a:solidFill>
              </a:rPr>
              <a:t>светового дня</a:t>
            </a:r>
          </a:p>
        </p:txBody>
      </p:sp>
      <p:sp>
        <p:nvSpPr>
          <p:cNvPr id="119847" name="Textfeld 159"/>
          <p:cNvSpPr txBox="1">
            <a:spLocks noChangeArrowheads="1"/>
          </p:cNvSpPr>
          <p:nvPr/>
        </p:nvSpPr>
        <p:spPr bwMode="auto">
          <a:xfrm>
            <a:off x="8388350" y="2420938"/>
            <a:ext cx="755650" cy="1503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200">
                <a:solidFill>
                  <a:schemeClr val="accent1"/>
                </a:solidFill>
              </a:rPr>
              <a:t>Критическая</a:t>
            </a:r>
          </a:p>
          <a:p>
            <a:pPr algn="ctr">
              <a:lnSpc>
                <a:spcPct val="110000"/>
              </a:lnSpc>
            </a:pPr>
            <a:r>
              <a:rPr lang="en-US" sz="1200">
                <a:solidFill>
                  <a:schemeClr val="accent1"/>
                </a:solidFill>
              </a:rPr>
              <a:t>продолжительность</a:t>
            </a:r>
          </a:p>
          <a:p>
            <a:pPr algn="ctr">
              <a:lnSpc>
                <a:spcPct val="110000"/>
              </a:lnSpc>
            </a:pPr>
            <a:r>
              <a:rPr lang="en-US" sz="1200">
                <a:solidFill>
                  <a:schemeClr val="accent1"/>
                </a:solidFill>
              </a:rPr>
              <a:t>светового дня</a:t>
            </a:r>
          </a:p>
        </p:txBody>
      </p:sp>
      <p:cxnSp>
        <p:nvCxnSpPr>
          <p:cNvPr id="119848" name="Gerade Verbindung 160"/>
          <p:cNvCxnSpPr>
            <a:cxnSpLocks noChangeShapeType="1"/>
          </p:cNvCxnSpPr>
          <p:nvPr/>
        </p:nvCxnSpPr>
        <p:spPr bwMode="auto">
          <a:xfrm>
            <a:off x="5076825" y="3068638"/>
            <a:ext cx="3455988" cy="0"/>
          </a:xfrm>
          <a:prstGeom prst="line">
            <a:avLst/>
          </a:prstGeom>
          <a:noFill/>
          <a:ln w="28575" algn="ctr">
            <a:solidFill>
              <a:schemeClr val="accent1"/>
            </a:solidFill>
            <a:round/>
            <a:headEnd/>
            <a:tailEnd/>
          </a:ln>
        </p:spPr>
      </p:cxnSp>
      <p:sp>
        <p:nvSpPr>
          <p:cNvPr id="84" name="Textfeld 83"/>
          <p:cNvSpPr txBox="1"/>
          <p:nvPr/>
        </p:nvSpPr>
        <p:spPr>
          <a:xfrm>
            <a:off x="539750" y="6021388"/>
            <a:ext cx="852488" cy="26193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000" b="1" kern="0" dirty="0"/>
              <a:t>Источник: [0]</a:t>
            </a:r>
          </a:p>
        </p:txBody>
      </p:sp>
      <p:pic>
        <p:nvPicPr>
          <p:cNvPr id="85" name="Рисунок 84">
            <a:hlinkClick r:id="rId2"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453336"/>
            <a:ext cx="2526984" cy="29841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3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Теоретические основы</a:t>
            </a:r>
            <a:br>
              <a:rPr lang="ru-RU" smtClean="0"/>
            </a:br>
            <a:r>
              <a:rPr lang="ru-RU" smtClean="0"/>
              <a:t>Счет фотонов</a:t>
            </a:r>
          </a:p>
        </p:txBody>
      </p:sp>
      <p:sp>
        <p:nvSpPr>
          <p:cNvPr id="120834" name="Text Box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39750" y="1412875"/>
            <a:ext cx="8064500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0" hangingPunct="0"/>
            <a:r>
              <a:rPr lang="en-US" sz="1600" b="1">
                <a:solidFill>
                  <a:srgbClr val="58585A"/>
                </a:solidFill>
              </a:rPr>
              <a:t>Современный метод определения спектральных весовых коэффициентов не вполне совершенен </a:t>
            </a:r>
            <a:endParaRPr lang="ru-RU" sz="1600" b="1">
              <a:solidFill>
                <a:srgbClr val="58585A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120836" name="Rectangle 5"/>
          <p:cNvSpPr>
            <a:spLocks noChangeArrowheads="1"/>
          </p:cNvSpPr>
          <p:nvPr/>
        </p:nvSpPr>
        <p:spPr bwMode="gray">
          <a:xfrm>
            <a:off x="3097213" y="1928813"/>
            <a:ext cx="5033962" cy="4087812"/>
          </a:xfrm>
          <a:prstGeom prst="rect">
            <a:avLst/>
          </a:prstGeom>
          <a:solidFill>
            <a:srgbClr val="FDEADB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wrap="none" tIns="115189" bIns="115189" anchor="ctr"/>
          <a:lstStyle/>
          <a:p>
            <a:pPr algn="ctr">
              <a:spcBef>
                <a:spcPct val="50000"/>
              </a:spcBef>
              <a:buFont typeface="Symbol" pitchFamily="18" charset="2"/>
              <a:buNone/>
            </a:pPr>
            <a:endParaRPr lang="en-US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120837" name="Rectangle 7"/>
          <p:cNvSpPr>
            <a:spLocks noChangeArrowheads="1"/>
          </p:cNvSpPr>
          <p:nvPr/>
        </p:nvSpPr>
        <p:spPr bwMode="gray">
          <a:xfrm>
            <a:off x="539750" y="1916113"/>
            <a:ext cx="2476500" cy="4087812"/>
          </a:xfrm>
          <a:prstGeom prst="rect">
            <a:avLst/>
          </a:prstGeom>
          <a:solidFill>
            <a:srgbClr val="FDEADB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wrap="none" tIns="115189" bIns="115189" anchor="ctr"/>
          <a:lstStyle/>
          <a:p>
            <a:pPr algn="ctr">
              <a:spcBef>
                <a:spcPct val="50000"/>
              </a:spcBef>
              <a:buFont typeface="Symbol" pitchFamily="18" charset="2"/>
              <a:buNone/>
            </a:pPr>
            <a:endParaRPr lang="en-US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120838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71513" y="2378075"/>
            <a:ext cx="2387600" cy="1411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82563" lvl="1" indent="-180975">
              <a:lnSpc>
                <a:spcPct val="110000"/>
              </a:lnSpc>
              <a:spcBef>
                <a:spcPct val="30000"/>
              </a:spcBef>
              <a:buFont typeface="Arial" charset="0"/>
              <a:buChar char="•"/>
            </a:pPr>
            <a:r>
              <a:rPr lang="en-US" sz="1200" dirty="0" err="1">
                <a:solidFill>
                  <a:srgbClr val="000000"/>
                </a:solidFill>
              </a:rPr>
              <a:t>Всем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спектральным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составляющим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придаются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равные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весовые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коэффициенты</a:t>
            </a:r>
            <a:r>
              <a:rPr lang="en-US" sz="1200" dirty="0">
                <a:solidFill>
                  <a:srgbClr val="000000"/>
                </a:solidFill>
              </a:rPr>
              <a:t>, т. к. </a:t>
            </a:r>
            <a:r>
              <a:rPr lang="en-US" sz="1200" dirty="0" err="1">
                <a:solidFill>
                  <a:srgbClr val="000000"/>
                </a:solidFill>
              </a:rPr>
              <a:t>счет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фотонов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ведется</a:t>
            </a:r>
            <a:r>
              <a:rPr lang="en-US" sz="1200" dirty="0">
                <a:solidFill>
                  <a:srgbClr val="000000"/>
                </a:solidFill>
              </a:rPr>
              <a:t> в </a:t>
            </a:r>
            <a:r>
              <a:rPr lang="en-US" sz="1200" dirty="0" err="1">
                <a:solidFill>
                  <a:srgbClr val="000000"/>
                </a:solidFill>
              </a:rPr>
              <a:t>области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фотосинтетически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</a:rPr>
              <a:t>активно</a:t>
            </a:r>
            <a:r>
              <a:rPr lang="ru-RU" sz="1200" dirty="0" err="1" smtClean="0">
                <a:solidFill>
                  <a:srgbClr val="000000"/>
                </a:solidFill>
              </a:rPr>
              <a:t>му</a:t>
            </a:r>
            <a:r>
              <a:rPr lang="en-US" sz="1200" dirty="0" smtClean="0">
                <a:solidFill>
                  <a:srgbClr val="000000"/>
                </a:solidFill>
              </a:rPr>
              <a:t> </a:t>
            </a:r>
            <a:r>
              <a:rPr lang="ru-RU" sz="1200" dirty="0" smtClean="0">
                <a:solidFill>
                  <a:srgbClr val="000000"/>
                </a:solidFill>
              </a:rPr>
              <a:t>излучению</a:t>
            </a:r>
            <a:r>
              <a:rPr lang="en-US" sz="1200" dirty="0" smtClean="0">
                <a:solidFill>
                  <a:srgbClr val="000000"/>
                </a:solidFill>
              </a:rPr>
              <a:t> </a:t>
            </a:r>
            <a:r>
              <a:rPr lang="en-US" sz="1200" dirty="0">
                <a:solidFill>
                  <a:srgbClr val="000000"/>
                </a:solidFill>
              </a:rPr>
              <a:t>(</a:t>
            </a:r>
            <a:r>
              <a:rPr lang="en-US" sz="1200" dirty="0" smtClean="0">
                <a:solidFill>
                  <a:srgbClr val="000000"/>
                </a:solidFill>
              </a:rPr>
              <a:t>ФА</a:t>
            </a:r>
            <a:r>
              <a:rPr lang="ru-RU" sz="1200" dirty="0" smtClean="0">
                <a:solidFill>
                  <a:srgbClr val="000000"/>
                </a:solidFill>
              </a:rPr>
              <a:t>И</a:t>
            </a:r>
            <a:r>
              <a:rPr lang="en-US" sz="1200" dirty="0" smtClean="0">
                <a:solidFill>
                  <a:srgbClr val="000000"/>
                </a:solidFill>
              </a:rPr>
              <a:t>).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20947" name="Rectangle 6"/>
          <p:cNvSpPr>
            <a:spLocks noChangeArrowheads="1"/>
          </p:cNvSpPr>
          <p:nvPr/>
        </p:nvSpPr>
        <p:spPr bwMode="gray">
          <a:xfrm>
            <a:off x="6156325" y="3573463"/>
            <a:ext cx="1800225" cy="504825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wrap="none" tIns="115189" bIns="115189" anchor="ctr"/>
          <a:lstStyle/>
          <a:p>
            <a:pPr marL="182563" lvl="1" indent="-180975" algn="ctr" eaLnBrk="0" hangingPunct="0">
              <a:spcBef>
                <a:spcPct val="30000"/>
              </a:spcBef>
              <a:buSzPct val="115000"/>
              <a:buFont typeface="Symbol" pitchFamily="18" charset="2"/>
              <a:buNone/>
            </a:pPr>
            <a:r>
              <a:rPr lang="en-US" sz="1200" b="1">
                <a:solidFill>
                  <a:srgbClr val="000000"/>
                </a:solidFill>
              </a:rPr>
              <a:t>Кривая чувствительности</a:t>
            </a:r>
            <a:r>
              <a:rPr lang="ru-RU" sz="1200" b="1">
                <a:solidFill>
                  <a:srgbClr val="000000"/>
                </a:solidFill>
              </a:rPr>
              <a:t/>
            </a:r>
            <a:br>
              <a:rPr lang="ru-RU" sz="1200" b="1">
                <a:solidFill>
                  <a:srgbClr val="000000"/>
                </a:solidFill>
              </a:rPr>
            </a:br>
            <a:r>
              <a:rPr lang="en-US" sz="1200" b="1">
                <a:solidFill>
                  <a:srgbClr val="000000"/>
                </a:solidFill>
              </a:rPr>
              <a:t>растения (DIN)*</a:t>
            </a:r>
          </a:p>
        </p:txBody>
      </p:sp>
      <p:sp>
        <p:nvSpPr>
          <p:cNvPr id="120948" name="Text Box 10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-5400000">
            <a:off x="5028406" y="4701382"/>
            <a:ext cx="1728787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/>
            <a:r>
              <a:rPr lang="en-US" sz="1100" b="1">
                <a:solidFill>
                  <a:srgbClr val="000000"/>
                </a:solidFill>
              </a:rPr>
              <a:t>Чувствительность к потоку излучения</a:t>
            </a:r>
          </a:p>
        </p:txBody>
      </p:sp>
      <p:sp>
        <p:nvSpPr>
          <p:cNvPr id="120949" name="Rectangle 11"/>
          <p:cNvSpPr>
            <a:spLocks noChangeArrowheads="1"/>
          </p:cNvSpPr>
          <p:nvPr/>
        </p:nvSpPr>
        <p:spPr bwMode="auto">
          <a:xfrm>
            <a:off x="6475413" y="5794375"/>
            <a:ext cx="1201737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/>
            <a:r>
              <a:rPr lang="de-DE" sz="1100" b="1">
                <a:solidFill>
                  <a:srgbClr val="000000"/>
                </a:solidFill>
                <a:latin typeface="Helvetica" pitchFamily="34" charset="0"/>
              </a:rPr>
              <a:t>Длина волны, нм</a:t>
            </a:r>
            <a:endParaRPr lang="ru-RU" sz="1100" b="1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grpSp>
        <p:nvGrpSpPr>
          <p:cNvPr id="120950" name="Gruppieren 153"/>
          <p:cNvGrpSpPr>
            <a:grpSpLocks/>
          </p:cNvGrpSpPr>
          <p:nvPr/>
        </p:nvGrpSpPr>
        <p:grpSpPr bwMode="auto">
          <a:xfrm>
            <a:off x="6099175" y="4041775"/>
            <a:ext cx="1800225" cy="1839913"/>
            <a:chOff x="6557963" y="4186238"/>
            <a:chExt cx="1960563" cy="1966573"/>
          </a:xfrm>
        </p:grpSpPr>
        <p:pic>
          <p:nvPicPr>
            <p:cNvPr id="120951" name="Picture 13" descr="s_lambda_b.gif (7867 байт)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6748463" y="4214813"/>
              <a:ext cx="1770063" cy="1693863"/>
            </a:xfrm>
            <a:prstGeom prst="rect">
              <a:avLst/>
            </a:prstGeom>
            <a:noFill/>
            <a:ln w="28575" algn="ctr">
              <a:noFill/>
              <a:miter lim="800000"/>
              <a:headEnd/>
              <a:tailEnd/>
            </a:ln>
          </p:spPr>
        </p:pic>
        <p:sp>
          <p:nvSpPr>
            <p:cNvPr id="120952" name="Rectangle 14"/>
            <p:cNvSpPr>
              <a:spLocks noChangeArrowheads="1"/>
            </p:cNvSpPr>
            <p:nvPr/>
          </p:nvSpPr>
          <p:spPr bwMode="auto">
            <a:xfrm>
              <a:off x="6637492" y="5815151"/>
              <a:ext cx="69156" cy="1459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de-DE" sz="900">
                  <a:solidFill>
                    <a:srgbClr val="000000"/>
                  </a:solidFill>
                  <a:latin typeface="Helvetica" pitchFamily="34" charset="0"/>
                </a:rPr>
                <a:t>0</a:t>
              </a:r>
              <a:endParaRPr lang="ru-RU" sz="900" b="1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20953" name="Line 15"/>
            <p:cNvSpPr>
              <a:spLocks noChangeShapeType="1"/>
            </p:cNvSpPr>
            <p:nvPr/>
          </p:nvSpPr>
          <p:spPr bwMode="auto">
            <a:xfrm>
              <a:off x="6734176" y="5726113"/>
              <a:ext cx="15875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954" name="Rectangle 16"/>
            <p:cNvSpPr>
              <a:spLocks noChangeArrowheads="1"/>
            </p:cNvSpPr>
            <p:nvPr/>
          </p:nvSpPr>
          <p:spPr bwMode="auto">
            <a:xfrm>
              <a:off x="6561421" y="5652260"/>
              <a:ext cx="172889" cy="1459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de-DE" sz="900">
                  <a:solidFill>
                    <a:srgbClr val="000000"/>
                  </a:solidFill>
                  <a:latin typeface="Helvetica" pitchFamily="34" charset="0"/>
                </a:rPr>
                <a:t>0,1</a:t>
              </a:r>
              <a:endParaRPr lang="ru-RU" sz="900" b="1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20955" name="Line 17"/>
            <p:cNvSpPr>
              <a:spLocks noChangeShapeType="1"/>
            </p:cNvSpPr>
            <p:nvPr/>
          </p:nvSpPr>
          <p:spPr bwMode="auto">
            <a:xfrm>
              <a:off x="6734176" y="5564188"/>
              <a:ext cx="15875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956" name="Rectangle 18"/>
            <p:cNvSpPr>
              <a:spLocks noChangeArrowheads="1"/>
            </p:cNvSpPr>
            <p:nvPr/>
          </p:nvSpPr>
          <p:spPr bwMode="auto">
            <a:xfrm>
              <a:off x="6561421" y="5489368"/>
              <a:ext cx="172889" cy="1459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de-DE" sz="900">
                  <a:solidFill>
                    <a:srgbClr val="000000"/>
                  </a:solidFill>
                  <a:latin typeface="Helvetica" pitchFamily="34" charset="0"/>
                </a:rPr>
                <a:t>0,2</a:t>
              </a:r>
              <a:endParaRPr lang="ru-RU" sz="900" b="1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20957" name="Line 19"/>
            <p:cNvSpPr>
              <a:spLocks noChangeShapeType="1"/>
            </p:cNvSpPr>
            <p:nvPr/>
          </p:nvSpPr>
          <p:spPr bwMode="auto">
            <a:xfrm>
              <a:off x="6734176" y="5399088"/>
              <a:ext cx="15875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958" name="Rectangle 20"/>
            <p:cNvSpPr>
              <a:spLocks noChangeArrowheads="1"/>
            </p:cNvSpPr>
            <p:nvPr/>
          </p:nvSpPr>
          <p:spPr bwMode="auto">
            <a:xfrm>
              <a:off x="6561421" y="5326477"/>
              <a:ext cx="172889" cy="1459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de-DE" sz="900">
                  <a:solidFill>
                    <a:srgbClr val="000000"/>
                  </a:solidFill>
                  <a:latin typeface="Helvetica" pitchFamily="34" charset="0"/>
                </a:rPr>
                <a:t>0,3</a:t>
              </a:r>
              <a:endParaRPr lang="ru-RU" sz="900" b="1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20959" name="Line 21"/>
            <p:cNvSpPr>
              <a:spLocks noChangeShapeType="1"/>
            </p:cNvSpPr>
            <p:nvPr/>
          </p:nvSpPr>
          <p:spPr bwMode="auto">
            <a:xfrm>
              <a:off x="6734176" y="5238751"/>
              <a:ext cx="15875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960" name="Rectangle 22"/>
            <p:cNvSpPr>
              <a:spLocks noChangeArrowheads="1"/>
            </p:cNvSpPr>
            <p:nvPr/>
          </p:nvSpPr>
          <p:spPr bwMode="auto">
            <a:xfrm>
              <a:off x="6561421" y="5166979"/>
              <a:ext cx="172889" cy="1459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de-DE" sz="900">
                  <a:solidFill>
                    <a:srgbClr val="000000"/>
                  </a:solidFill>
                  <a:latin typeface="Helvetica" pitchFamily="34" charset="0"/>
                </a:rPr>
                <a:t>0,4</a:t>
              </a:r>
              <a:endParaRPr lang="ru-RU" sz="900" b="1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20961" name="Line 23"/>
            <p:cNvSpPr>
              <a:spLocks noChangeShapeType="1"/>
            </p:cNvSpPr>
            <p:nvPr/>
          </p:nvSpPr>
          <p:spPr bwMode="auto">
            <a:xfrm>
              <a:off x="6734176" y="5076826"/>
              <a:ext cx="15875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962" name="Rectangle 24"/>
            <p:cNvSpPr>
              <a:spLocks noChangeArrowheads="1"/>
            </p:cNvSpPr>
            <p:nvPr/>
          </p:nvSpPr>
          <p:spPr bwMode="auto">
            <a:xfrm>
              <a:off x="6561421" y="5002391"/>
              <a:ext cx="172889" cy="1459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de-DE" sz="900">
                  <a:solidFill>
                    <a:srgbClr val="000000"/>
                  </a:solidFill>
                  <a:latin typeface="Helvetica" pitchFamily="34" charset="0"/>
                </a:rPr>
                <a:t>0,5</a:t>
              </a:r>
              <a:endParaRPr lang="ru-RU" sz="900" b="1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20963" name="Line 25"/>
            <p:cNvSpPr>
              <a:spLocks noChangeShapeType="1"/>
            </p:cNvSpPr>
            <p:nvPr/>
          </p:nvSpPr>
          <p:spPr bwMode="auto">
            <a:xfrm>
              <a:off x="6734176" y="4910138"/>
              <a:ext cx="15875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964" name="Rectangle 26"/>
            <p:cNvSpPr>
              <a:spLocks noChangeArrowheads="1"/>
            </p:cNvSpPr>
            <p:nvPr/>
          </p:nvSpPr>
          <p:spPr bwMode="auto">
            <a:xfrm>
              <a:off x="6561421" y="4834410"/>
              <a:ext cx="172889" cy="1459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de-DE" sz="900">
                  <a:solidFill>
                    <a:srgbClr val="000000"/>
                  </a:solidFill>
                  <a:latin typeface="Helvetica" pitchFamily="34" charset="0"/>
                </a:rPr>
                <a:t>0,6</a:t>
              </a:r>
              <a:endParaRPr lang="ru-RU" sz="900" b="1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20965" name="Line 27"/>
            <p:cNvSpPr>
              <a:spLocks noChangeShapeType="1"/>
            </p:cNvSpPr>
            <p:nvPr/>
          </p:nvSpPr>
          <p:spPr bwMode="auto">
            <a:xfrm>
              <a:off x="6734176" y="4748213"/>
              <a:ext cx="15875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966" name="Rectangle 28"/>
            <p:cNvSpPr>
              <a:spLocks noChangeArrowheads="1"/>
            </p:cNvSpPr>
            <p:nvPr/>
          </p:nvSpPr>
          <p:spPr bwMode="auto">
            <a:xfrm>
              <a:off x="6561421" y="4673215"/>
              <a:ext cx="172889" cy="1459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de-DE" sz="900">
                  <a:solidFill>
                    <a:srgbClr val="000000"/>
                  </a:solidFill>
                  <a:latin typeface="Helvetica" pitchFamily="34" charset="0"/>
                </a:rPr>
                <a:t>0,7</a:t>
              </a:r>
              <a:endParaRPr lang="ru-RU" sz="900" b="1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20967" name="Line 29"/>
            <p:cNvSpPr>
              <a:spLocks noChangeShapeType="1"/>
            </p:cNvSpPr>
            <p:nvPr/>
          </p:nvSpPr>
          <p:spPr bwMode="auto">
            <a:xfrm>
              <a:off x="6734176" y="4584701"/>
              <a:ext cx="15875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968" name="Rectangle 30"/>
            <p:cNvSpPr>
              <a:spLocks noChangeArrowheads="1"/>
            </p:cNvSpPr>
            <p:nvPr/>
          </p:nvSpPr>
          <p:spPr bwMode="auto">
            <a:xfrm>
              <a:off x="6557963" y="4505233"/>
              <a:ext cx="174618" cy="1459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eaLnBrk="0" hangingPunct="0"/>
              <a:r>
                <a:rPr lang="de-DE" sz="900">
                  <a:solidFill>
                    <a:srgbClr val="000000"/>
                  </a:solidFill>
                  <a:latin typeface="Helvetica" pitchFamily="34" charset="0"/>
                </a:rPr>
                <a:t>0,8</a:t>
              </a:r>
              <a:endParaRPr lang="ru-RU" sz="900" b="1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20969" name="Line 31"/>
            <p:cNvSpPr>
              <a:spLocks noChangeShapeType="1"/>
            </p:cNvSpPr>
            <p:nvPr/>
          </p:nvSpPr>
          <p:spPr bwMode="auto">
            <a:xfrm>
              <a:off x="6734176" y="4424363"/>
              <a:ext cx="15875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970" name="Rectangle 32"/>
            <p:cNvSpPr>
              <a:spLocks noChangeArrowheads="1"/>
            </p:cNvSpPr>
            <p:nvPr/>
          </p:nvSpPr>
          <p:spPr bwMode="auto">
            <a:xfrm>
              <a:off x="6561421" y="4347433"/>
              <a:ext cx="172889" cy="1459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de-DE" sz="900">
                  <a:solidFill>
                    <a:srgbClr val="000000"/>
                  </a:solidFill>
                  <a:latin typeface="Helvetica" pitchFamily="34" charset="0"/>
                </a:rPr>
                <a:t>0,9</a:t>
              </a:r>
              <a:endParaRPr lang="ru-RU" sz="900" b="1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20971" name="Line 33"/>
            <p:cNvSpPr>
              <a:spLocks noChangeShapeType="1"/>
            </p:cNvSpPr>
            <p:nvPr/>
          </p:nvSpPr>
          <p:spPr bwMode="auto">
            <a:xfrm>
              <a:off x="6734176" y="4262438"/>
              <a:ext cx="15875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972" name="Rectangle 34"/>
            <p:cNvSpPr>
              <a:spLocks noChangeArrowheads="1"/>
            </p:cNvSpPr>
            <p:nvPr/>
          </p:nvSpPr>
          <p:spPr bwMode="auto">
            <a:xfrm>
              <a:off x="6637492" y="4186238"/>
              <a:ext cx="69156" cy="1459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de-DE" sz="900">
                  <a:solidFill>
                    <a:srgbClr val="000000"/>
                  </a:solidFill>
                  <a:latin typeface="Helvetica" pitchFamily="34" charset="0"/>
                </a:rPr>
                <a:t>1</a:t>
              </a:r>
              <a:endParaRPr lang="ru-RU" sz="900" b="1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20973" name="Line 35"/>
            <p:cNvSpPr>
              <a:spLocks noChangeShapeType="1"/>
            </p:cNvSpPr>
            <p:nvPr/>
          </p:nvSpPr>
          <p:spPr bwMode="auto">
            <a:xfrm flipV="1">
              <a:off x="6751638" y="4262438"/>
              <a:ext cx="0" cy="162877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974" name="Rectangle 36"/>
            <p:cNvSpPr>
              <a:spLocks noChangeArrowheads="1"/>
            </p:cNvSpPr>
            <p:nvPr/>
          </p:nvSpPr>
          <p:spPr bwMode="auto">
            <a:xfrm>
              <a:off x="6729123" y="5859268"/>
              <a:ext cx="32849" cy="2935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eaLnBrk="0" hangingPunct="0"/>
              <a:r>
                <a:rPr lang="ru-RU"/>
                <a:t> </a:t>
              </a:r>
              <a:endParaRPr lang="ru-RU" sz="900" b="1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20975" name="Rectangle 37"/>
            <p:cNvSpPr>
              <a:spLocks noChangeArrowheads="1"/>
            </p:cNvSpPr>
            <p:nvPr/>
          </p:nvSpPr>
          <p:spPr bwMode="auto">
            <a:xfrm>
              <a:off x="6678985" y="5923746"/>
              <a:ext cx="207467" cy="1459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de-DE" sz="900">
                  <a:solidFill>
                    <a:srgbClr val="000000"/>
                  </a:solidFill>
                  <a:latin typeface="Helvetica" pitchFamily="34" charset="0"/>
                </a:rPr>
                <a:t>400</a:t>
              </a:r>
              <a:endParaRPr lang="ru-RU" b="1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20976" name="Rectangle 38"/>
            <p:cNvSpPr>
              <a:spLocks noChangeArrowheads="1"/>
            </p:cNvSpPr>
            <p:nvPr/>
          </p:nvSpPr>
          <p:spPr bwMode="auto">
            <a:xfrm>
              <a:off x="6943506" y="5923746"/>
              <a:ext cx="207467" cy="1459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de-DE" sz="900">
                  <a:solidFill>
                    <a:srgbClr val="000000"/>
                  </a:solidFill>
                  <a:latin typeface="Helvetica" pitchFamily="34" charset="0"/>
                </a:rPr>
                <a:t>450</a:t>
              </a:r>
              <a:endParaRPr lang="ru-RU" b="1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20977" name="Rectangle 39"/>
            <p:cNvSpPr>
              <a:spLocks noChangeArrowheads="1"/>
            </p:cNvSpPr>
            <p:nvPr/>
          </p:nvSpPr>
          <p:spPr bwMode="auto">
            <a:xfrm>
              <a:off x="7202840" y="5923746"/>
              <a:ext cx="207467" cy="1459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de-DE" sz="900">
                  <a:solidFill>
                    <a:srgbClr val="000000"/>
                  </a:solidFill>
                  <a:latin typeface="Helvetica" pitchFamily="34" charset="0"/>
                </a:rPr>
                <a:t>500</a:t>
              </a:r>
              <a:endParaRPr lang="ru-RU" b="1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20978" name="Rectangle 40"/>
            <p:cNvSpPr>
              <a:spLocks noChangeArrowheads="1"/>
            </p:cNvSpPr>
            <p:nvPr/>
          </p:nvSpPr>
          <p:spPr bwMode="auto">
            <a:xfrm>
              <a:off x="7474276" y="5923746"/>
              <a:ext cx="207466" cy="1459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de-DE" sz="900">
                  <a:solidFill>
                    <a:srgbClr val="000000"/>
                  </a:solidFill>
                  <a:latin typeface="Helvetica" pitchFamily="34" charset="0"/>
                </a:rPr>
                <a:t>550</a:t>
              </a:r>
              <a:endParaRPr lang="ru-RU" b="1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20979" name="Rectangle 41"/>
            <p:cNvSpPr>
              <a:spLocks noChangeArrowheads="1"/>
            </p:cNvSpPr>
            <p:nvPr/>
          </p:nvSpPr>
          <p:spPr bwMode="auto">
            <a:xfrm>
              <a:off x="7737067" y="5923746"/>
              <a:ext cx="207467" cy="1459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de-DE" sz="900">
                  <a:solidFill>
                    <a:srgbClr val="000000"/>
                  </a:solidFill>
                  <a:latin typeface="Helvetica" pitchFamily="34" charset="0"/>
                </a:rPr>
                <a:t>600</a:t>
              </a:r>
              <a:endParaRPr lang="ru-RU" b="1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20980" name="Rectangle 42"/>
            <p:cNvSpPr>
              <a:spLocks noChangeArrowheads="1"/>
            </p:cNvSpPr>
            <p:nvPr/>
          </p:nvSpPr>
          <p:spPr bwMode="auto">
            <a:xfrm>
              <a:off x="7999859" y="5923746"/>
              <a:ext cx="207467" cy="1459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de-DE" sz="900">
                  <a:solidFill>
                    <a:srgbClr val="000000"/>
                  </a:solidFill>
                  <a:latin typeface="Helvetica" pitchFamily="34" charset="0"/>
                </a:rPr>
                <a:t>650</a:t>
              </a:r>
              <a:endParaRPr lang="ru-RU" b="1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20981" name="Rectangle 43"/>
            <p:cNvSpPr>
              <a:spLocks noChangeArrowheads="1"/>
            </p:cNvSpPr>
            <p:nvPr/>
          </p:nvSpPr>
          <p:spPr bwMode="auto">
            <a:xfrm>
              <a:off x="8266108" y="5923745"/>
              <a:ext cx="207467" cy="1459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de-DE" sz="900">
                  <a:solidFill>
                    <a:srgbClr val="000000"/>
                  </a:solidFill>
                  <a:latin typeface="Helvetica" pitchFamily="34" charset="0"/>
                </a:rPr>
                <a:t>700</a:t>
              </a:r>
              <a:endParaRPr lang="ru-RU" b="1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</p:grpSp>
      <p:sp>
        <p:nvSpPr>
          <p:cNvPr id="120851" name="Rectangle 9"/>
          <p:cNvSpPr>
            <a:spLocks noChangeArrowheads="1"/>
          </p:cNvSpPr>
          <p:nvPr/>
        </p:nvSpPr>
        <p:spPr bwMode="gray">
          <a:xfrm>
            <a:off x="755650" y="3716338"/>
            <a:ext cx="2032000" cy="307975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wrap="none" tIns="115189" bIns="115189" anchor="ctr"/>
          <a:lstStyle/>
          <a:p>
            <a:pPr marL="182563" lvl="1" indent="-180975" algn="ctr" eaLnBrk="0" hangingPunct="0">
              <a:spcBef>
                <a:spcPct val="30000"/>
              </a:spcBef>
              <a:buSzPct val="115000"/>
              <a:buFont typeface="Symbol" pitchFamily="18" charset="2"/>
              <a:buNone/>
            </a:pPr>
            <a:r>
              <a:rPr lang="en-US" sz="1200" b="1" dirty="0" err="1">
                <a:solidFill>
                  <a:srgbClr val="000000"/>
                </a:solidFill>
              </a:rPr>
              <a:t>Кривая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b="1" dirty="0" err="1">
                <a:solidFill>
                  <a:srgbClr val="000000"/>
                </a:solidFill>
              </a:rPr>
              <a:t>чувствительности</a:t>
            </a:r>
            <a:r>
              <a:rPr lang="en-US" sz="1200" b="1" dirty="0">
                <a:solidFill>
                  <a:srgbClr val="000000"/>
                </a:solidFill>
              </a:rPr>
              <a:t> к </a:t>
            </a:r>
            <a:r>
              <a:rPr lang="en-US" sz="1200" b="1" dirty="0" smtClean="0">
                <a:solidFill>
                  <a:srgbClr val="000000"/>
                </a:solidFill>
              </a:rPr>
              <a:t>ФА</a:t>
            </a:r>
            <a:r>
              <a:rPr lang="ru-RU" sz="1200" b="1" dirty="0" smtClean="0">
                <a:solidFill>
                  <a:srgbClr val="000000"/>
                </a:solidFill>
              </a:rPr>
              <a:t>И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120852" name="Text Box 44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 rot="-5400000">
            <a:off x="-185738" y="4659313"/>
            <a:ext cx="1787525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hangingPunct="0"/>
            <a:r>
              <a:rPr lang="en-US" sz="1100" b="1">
                <a:solidFill>
                  <a:srgbClr val="000000"/>
                </a:solidFill>
              </a:rPr>
              <a:t>Чувствительность к потоку фотонов </a:t>
            </a:r>
          </a:p>
        </p:txBody>
      </p:sp>
      <p:grpSp>
        <p:nvGrpSpPr>
          <p:cNvPr id="120853" name="Group 45"/>
          <p:cNvGrpSpPr>
            <a:grpSpLocks/>
          </p:cNvGrpSpPr>
          <p:nvPr/>
        </p:nvGrpSpPr>
        <p:grpSpPr bwMode="auto">
          <a:xfrm>
            <a:off x="911225" y="4043363"/>
            <a:ext cx="2062163" cy="1858962"/>
            <a:chOff x="2309" y="2500"/>
            <a:chExt cx="1415" cy="1252"/>
          </a:xfrm>
        </p:grpSpPr>
        <p:sp>
          <p:nvSpPr>
            <p:cNvPr id="120855" name="Rectangle 46"/>
            <p:cNvSpPr>
              <a:spLocks noChangeArrowheads="1"/>
            </p:cNvSpPr>
            <p:nvPr/>
          </p:nvSpPr>
          <p:spPr bwMode="auto">
            <a:xfrm>
              <a:off x="2439" y="2526"/>
              <a:ext cx="1199" cy="1062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>
                <a:spcBef>
                  <a:spcPct val="50000"/>
                </a:spcBef>
                <a:buFont typeface="Symbol" pitchFamily="18" charset="2"/>
                <a:buNone/>
              </a:pPr>
              <a:endParaRPr lang="en-US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20856" name="Rectangle 47"/>
            <p:cNvSpPr>
              <a:spLocks noChangeArrowheads="1"/>
            </p:cNvSpPr>
            <p:nvPr/>
          </p:nvSpPr>
          <p:spPr bwMode="auto">
            <a:xfrm>
              <a:off x="2451" y="2526"/>
              <a:ext cx="1199" cy="1062"/>
            </a:xfrm>
            <a:prstGeom prst="rect">
              <a:avLst/>
            </a:prstGeom>
            <a:noFill/>
            <a:ln w="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>
                <a:spcBef>
                  <a:spcPct val="50000"/>
                </a:spcBef>
                <a:buFont typeface="Symbol" pitchFamily="18" charset="2"/>
                <a:buNone/>
              </a:pPr>
              <a:endParaRPr lang="en-US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20857" name="Freeform 48"/>
            <p:cNvSpPr>
              <a:spLocks/>
            </p:cNvSpPr>
            <p:nvPr/>
          </p:nvSpPr>
          <p:spPr bwMode="auto">
            <a:xfrm>
              <a:off x="2515" y="2526"/>
              <a:ext cx="0" cy="1062"/>
            </a:xfrm>
            <a:custGeom>
              <a:avLst/>
              <a:gdLst>
                <a:gd name="T0" fmla="*/ 952213 h 342"/>
                <a:gd name="T1" fmla="*/ 0 h 342"/>
                <a:gd name="T2" fmla="*/ 0 h 342"/>
                <a:gd name="T3" fmla="*/ 0 60000 65536"/>
                <a:gd name="T4" fmla="*/ 0 60000 65536"/>
                <a:gd name="T5" fmla="*/ 0 60000 65536"/>
                <a:gd name="T6" fmla="*/ 0 h 342"/>
                <a:gd name="T7" fmla="*/ 342 h 342"/>
              </a:gdLst>
              <a:ahLst/>
              <a:cxnLst>
                <a:cxn ang="T3">
                  <a:pos x="0" y="T0"/>
                </a:cxn>
                <a:cxn ang="T4">
                  <a:pos x="0" y="T1"/>
                </a:cxn>
                <a:cxn ang="T5">
                  <a:pos x="0" y="T2"/>
                </a:cxn>
              </a:cxnLst>
              <a:rect l="0" t="T6" r="0" b="T7"/>
              <a:pathLst>
                <a:path h="342">
                  <a:moveTo>
                    <a:pt x="0" y="342"/>
                  </a:move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858" name="Freeform 49"/>
            <p:cNvSpPr>
              <a:spLocks/>
            </p:cNvSpPr>
            <p:nvPr/>
          </p:nvSpPr>
          <p:spPr bwMode="auto">
            <a:xfrm>
              <a:off x="2678" y="2526"/>
              <a:ext cx="0" cy="1062"/>
            </a:xfrm>
            <a:custGeom>
              <a:avLst/>
              <a:gdLst>
                <a:gd name="T0" fmla="*/ 952213 h 342"/>
                <a:gd name="T1" fmla="*/ 0 h 342"/>
                <a:gd name="T2" fmla="*/ 0 h 342"/>
                <a:gd name="T3" fmla="*/ 0 60000 65536"/>
                <a:gd name="T4" fmla="*/ 0 60000 65536"/>
                <a:gd name="T5" fmla="*/ 0 60000 65536"/>
                <a:gd name="T6" fmla="*/ 0 h 342"/>
                <a:gd name="T7" fmla="*/ 342 h 342"/>
              </a:gdLst>
              <a:ahLst/>
              <a:cxnLst>
                <a:cxn ang="T3">
                  <a:pos x="0" y="T0"/>
                </a:cxn>
                <a:cxn ang="T4">
                  <a:pos x="0" y="T1"/>
                </a:cxn>
                <a:cxn ang="T5">
                  <a:pos x="0" y="T2"/>
                </a:cxn>
              </a:cxnLst>
              <a:rect l="0" t="T6" r="0" b="T7"/>
              <a:pathLst>
                <a:path h="342">
                  <a:moveTo>
                    <a:pt x="0" y="342"/>
                  </a:move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859" name="Freeform 50"/>
            <p:cNvSpPr>
              <a:spLocks/>
            </p:cNvSpPr>
            <p:nvPr/>
          </p:nvSpPr>
          <p:spPr bwMode="auto">
            <a:xfrm>
              <a:off x="2837" y="2526"/>
              <a:ext cx="0" cy="1062"/>
            </a:xfrm>
            <a:custGeom>
              <a:avLst/>
              <a:gdLst>
                <a:gd name="T0" fmla="*/ 952213 h 342"/>
                <a:gd name="T1" fmla="*/ 0 h 342"/>
                <a:gd name="T2" fmla="*/ 0 h 342"/>
                <a:gd name="T3" fmla="*/ 0 60000 65536"/>
                <a:gd name="T4" fmla="*/ 0 60000 65536"/>
                <a:gd name="T5" fmla="*/ 0 60000 65536"/>
                <a:gd name="T6" fmla="*/ 0 h 342"/>
                <a:gd name="T7" fmla="*/ 342 h 342"/>
              </a:gdLst>
              <a:ahLst/>
              <a:cxnLst>
                <a:cxn ang="T3">
                  <a:pos x="0" y="T0"/>
                </a:cxn>
                <a:cxn ang="T4">
                  <a:pos x="0" y="T1"/>
                </a:cxn>
                <a:cxn ang="T5">
                  <a:pos x="0" y="T2"/>
                </a:cxn>
              </a:cxnLst>
              <a:rect l="0" t="T6" r="0" b="T7"/>
              <a:pathLst>
                <a:path h="342">
                  <a:moveTo>
                    <a:pt x="0" y="342"/>
                  </a:move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860" name="Freeform 51"/>
            <p:cNvSpPr>
              <a:spLocks/>
            </p:cNvSpPr>
            <p:nvPr/>
          </p:nvSpPr>
          <p:spPr bwMode="auto">
            <a:xfrm>
              <a:off x="3000" y="2526"/>
              <a:ext cx="0" cy="1062"/>
            </a:xfrm>
            <a:custGeom>
              <a:avLst/>
              <a:gdLst>
                <a:gd name="T0" fmla="*/ 952213 h 342"/>
                <a:gd name="T1" fmla="*/ 0 h 342"/>
                <a:gd name="T2" fmla="*/ 0 h 342"/>
                <a:gd name="T3" fmla="*/ 0 60000 65536"/>
                <a:gd name="T4" fmla="*/ 0 60000 65536"/>
                <a:gd name="T5" fmla="*/ 0 60000 65536"/>
                <a:gd name="T6" fmla="*/ 0 h 342"/>
                <a:gd name="T7" fmla="*/ 342 h 342"/>
              </a:gdLst>
              <a:ahLst/>
              <a:cxnLst>
                <a:cxn ang="T3">
                  <a:pos x="0" y="T0"/>
                </a:cxn>
                <a:cxn ang="T4">
                  <a:pos x="0" y="T1"/>
                </a:cxn>
                <a:cxn ang="T5">
                  <a:pos x="0" y="T2"/>
                </a:cxn>
              </a:cxnLst>
              <a:rect l="0" t="T6" r="0" b="T7"/>
              <a:pathLst>
                <a:path h="342">
                  <a:moveTo>
                    <a:pt x="0" y="342"/>
                  </a:move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861" name="Freeform 52"/>
            <p:cNvSpPr>
              <a:spLocks/>
            </p:cNvSpPr>
            <p:nvPr/>
          </p:nvSpPr>
          <p:spPr bwMode="auto">
            <a:xfrm>
              <a:off x="3163" y="2526"/>
              <a:ext cx="0" cy="1062"/>
            </a:xfrm>
            <a:custGeom>
              <a:avLst/>
              <a:gdLst>
                <a:gd name="T0" fmla="*/ 952213 h 342"/>
                <a:gd name="T1" fmla="*/ 0 h 342"/>
                <a:gd name="T2" fmla="*/ 0 h 342"/>
                <a:gd name="T3" fmla="*/ 0 60000 65536"/>
                <a:gd name="T4" fmla="*/ 0 60000 65536"/>
                <a:gd name="T5" fmla="*/ 0 60000 65536"/>
                <a:gd name="T6" fmla="*/ 0 h 342"/>
                <a:gd name="T7" fmla="*/ 342 h 342"/>
              </a:gdLst>
              <a:ahLst/>
              <a:cxnLst>
                <a:cxn ang="T3">
                  <a:pos x="0" y="T0"/>
                </a:cxn>
                <a:cxn ang="T4">
                  <a:pos x="0" y="T1"/>
                </a:cxn>
                <a:cxn ang="T5">
                  <a:pos x="0" y="T2"/>
                </a:cxn>
              </a:cxnLst>
              <a:rect l="0" t="T6" r="0" b="T7"/>
              <a:pathLst>
                <a:path h="342">
                  <a:moveTo>
                    <a:pt x="0" y="342"/>
                  </a:move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862" name="Freeform 53"/>
            <p:cNvSpPr>
              <a:spLocks/>
            </p:cNvSpPr>
            <p:nvPr/>
          </p:nvSpPr>
          <p:spPr bwMode="auto">
            <a:xfrm>
              <a:off x="3323" y="2526"/>
              <a:ext cx="0" cy="1062"/>
            </a:xfrm>
            <a:custGeom>
              <a:avLst/>
              <a:gdLst>
                <a:gd name="T0" fmla="*/ 952213 h 342"/>
                <a:gd name="T1" fmla="*/ 0 h 342"/>
                <a:gd name="T2" fmla="*/ 0 h 342"/>
                <a:gd name="T3" fmla="*/ 0 60000 65536"/>
                <a:gd name="T4" fmla="*/ 0 60000 65536"/>
                <a:gd name="T5" fmla="*/ 0 60000 65536"/>
                <a:gd name="T6" fmla="*/ 0 h 342"/>
                <a:gd name="T7" fmla="*/ 342 h 342"/>
              </a:gdLst>
              <a:ahLst/>
              <a:cxnLst>
                <a:cxn ang="T3">
                  <a:pos x="0" y="T0"/>
                </a:cxn>
                <a:cxn ang="T4">
                  <a:pos x="0" y="T1"/>
                </a:cxn>
                <a:cxn ang="T5">
                  <a:pos x="0" y="T2"/>
                </a:cxn>
              </a:cxnLst>
              <a:rect l="0" t="T6" r="0" b="T7"/>
              <a:pathLst>
                <a:path h="342">
                  <a:moveTo>
                    <a:pt x="0" y="342"/>
                  </a:move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863" name="Freeform 54"/>
            <p:cNvSpPr>
              <a:spLocks/>
            </p:cNvSpPr>
            <p:nvPr/>
          </p:nvSpPr>
          <p:spPr bwMode="auto">
            <a:xfrm>
              <a:off x="3486" y="2526"/>
              <a:ext cx="0" cy="1062"/>
            </a:xfrm>
            <a:custGeom>
              <a:avLst/>
              <a:gdLst>
                <a:gd name="T0" fmla="*/ 952213 h 342"/>
                <a:gd name="T1" fmla="*/ 0 h 342"/>
                <a:gd name="T2" fmla="*/ 0 h 342"/>
                <a:gd name="T3" fmla="*/ 0 60000 65536"/>
                <a:gd name="T4" fmla="*/ 0 60000 65536"/>
                <a:gd name="T5" fmla="*/ 0 60000 65536"/>
                <a:gd name="T6" fmla="*/ 0 h 342"/>
                <a:gd name="T7" fmla="*/ 342 h 342"/>
              </a:gdLst>
              <a:ahLst/>
              <a:cxnLst>
                <a:cxn ang="T3">
                  <a:pos x="0" y="T0"/>
                </a:cxn>
                <a:cxn ang="T4">
                  <a:pos x="0" y="T1"/>
                </a:cxn>
                <a:cxn ang="T5">
                  <a:pos x="0" y="T2"/>
                </a:cxn>
              </a:cxnLst>
              <a:rect l="0" t="T6" r="0" b="T7"/>
              <a:pathLst>
                <a:path h="342">
                  <a:moveTo>
                    <a:pt x="0" y="342"/>
                  </a:move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864" name="Freeform 55"/>
            <p:cNvSpPr>
              <a:spLocks/>
            </p:cNvSpPr>
            <p:nvPr/>
          </p:nvSpPr>
          <p:spPr bwMode="auto">
            <a:xfrm>
              <a:off x="3650" y="2526"/>
              <a:ext cx="0" cy="1062"/>
            </a:xfrm>
            <a:custGeom>
              <a:avLst/>
              <a:gdLst>
                <a:gd name="T0" fmla="*/ 952213 h 342"/>
                <a:gd name="T1" fmla="*/ 0 h 342"/>
                <a:gd name="T2" fmla="*/ 0 h 342"/>
                <a:gd name="T3" fmla="*/ 0 60000 65536"/>
                <a:gd name="T4" fmla="*/ 0 60000 65536"/>
                <a:gd name="T5" fmla="*/ 0 60000 65536"/>
                <a:gd name="T6" fmla="*/ 0 h 342"/>
                <a:gd name="T7" fmla="*/ 342 h 342"/>
              </a:gdLst>
              <a:ahLst/>
              <a:cxnLst>
                <a:cxn ang="T3">
                  <a:pos x="0" y="T0"/>
                </a:cxn>
                <a:cxn ang="T4">
                  <a:pos x="0" y="T1"/>
                </a:cxn>
                <a:cxn ang="T5">
                  <a:pos x="0" y="T2"/>
                </a:cxn>
              </a:cxnLst>
              <a:rect l="0" t="T6" r="0" b="T7"/>
              <a:pathLst>
                <a:path h="342">
                  <a:moveTo>
                    <a:pt x="0" y="342"/>
                  </a:move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865" name="Freeform 56"/>
            <p:cNvSpPr>
              <a:spLocks/>
            </p:cNvSpPr>
            <p:nvPr/>
          </p:nvSpPr>
          <p:spPr bwMode="auto">
            <a:xfrm>
              <a:off x="2451" y="3588"/>
              <a:ext cx="1199" cy="0"/>
            </a:xfrm>
            <a:custGeom>
              <a:avLst/>
              <a:gdLst>
                <a:gd name="T0" fmla="*/ 0 w 434"/>
                <a:gd name="T1" fmla="*/ 533005 w 434"/>
                <a:gd name="T2" fmla="*/ 533005 w 434"/>
                <a:gd name="T3" fmla="*/ 0 60000 65536"/>
                <a:gd name="T4" fmla="*/ 0 60000 65536"/>
                <a:gd name="T5" fmla="*/ 0 60000 65536"/>
                <a:gd name="T6" fmla="*/ 0 w 434"/>
                <a:gd name="T7" fmla="*/ 434 w 434"/>
              </a:gdLst>
              <a:ahLst/>
              <a:cxnLst>
                <a:cxn ang="T3">
                  <a:pos x="T0" y="0"/>
                </a:cxn>
                <a:cxn ang="T4">
                  <a:pos x="T1" y="0"/>
                </a:cxn>
                <a:cxn ang="T5">
                  <a:pos x="T2" y="0"/>
                </a:cxn>
              </a:cxnLst>
              <a:rect l="T6" t="0" r="T7" b="0"/>
              <a:pathLst>
                <a:path w="434">
                  <a:moveTo>
                    <a:pt x="0" y="0"/>
                  </a:moveTo>
                  <a:lnTo>
                    <a:pt x="434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866" name="Freeform 57"/>
            <p:cNvSpPr>
              <a:spLocks/>
            </p:cNvSpPr>
            <p:nvPr/>
          </p:nvSpPr>
          <p:spPr bwMode="auto">
            <a:xfrm>
              <a:off x="2451" y="3480"/>
              <a:ext cx="1199" cy="0"/>
            </a:xfrm>
            <a:custGeom>
              <a:avLst/>
              <a:gdLst>
                <a:gd name="T0" fmla="*/ 0 w 434"/>
                <a:gd name="T1" fmla="*/ 533005 w 434"/>
                <a:gd name="T2" fmla="*/ 533005 w 434"/>
                <a:gd name="T3" fmla="*/ 0 60000 65536"/>
                <a:gd name="T4" fmla="*/ 0 60000 65536"/>
                <a:gd name="T5" fmla="*/ 0 60000 65536"/>
                <a:gd name="T6" fmla="*/ 0 w 434"/>
                <a:gd name="T7" fmla="*/ 434 w 434"/>
              </a:gdLst>
              <a:ahLst/>
              <a:cxnLst>
                <a:cxn ang="T3">
                  <a:pos x="T0" y="0"/>
                </a:cxn>
                <a:cxn ang="T4">
                  <a:pos x="T1" y="0"/>
                </a:cxn>
                <a:cxn ang="T5">
                  <a:pos x="T2" y="0"/>
                </a:cxn>
              </a:cxnLst>
              <a:rect l="T6" t="0" r="T7" b="0"/>
              <a:pathLst>
                <a:path w="434">
                  <a:moveTo>
                    <a:pt x="0" y="0"/>
                  </a:moveTo>
                  <a:lnTo>
                    <a:pt x="434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867" name="Freeform 58"/>
            <p:cNvSpPr>
              <a:spLocks/>
            </p:cNvSpPr>
            <p:nvPr/>
          </p:nvSpPr>
          <p:spPr bwMode="auto">
            <a:xfrm>
              <a:off x="2451" y="3375"/>
              <a:ext cx="1199" cy="0"/>
            </a:xfrm>
            <a:custGeom>
              <a:avLst/>
              <a:gdLst>
                <a:gd name="T0" fmla="*/ 0 w 434"/>
                <a:gd name="T1" fmla="*/ 533005 w 434"/>
                <a:gd name="T2" fmla="*/ 533005 w 434"/>
                <a:gd name="T3" fmla="*/ 0 60000 65536"/>
                <a:gd name="T4" fmla="*/ 0 60000 65536"/>
                <a:gd name="T5" fmla="*/ 0 60000 65536"/>
                <a:gd name="T6" fmla="*/ 0 w 434"/>
                <a:gd name="T7" fmla="*/ 434 w 434"/>
              </a:gdLst>
              <a:ahLst/>
              <a:cxnLst>
                <a:cxn ang="T3">
                  <a:pos x="T0" y="0"/>
                </a:cxn>
                <a:cxn ang="T4">
                  <a:pos x="T1" y="0"/>
                </a:cxn>
                <a:cxn ang="T5">
                  <a:pos x="T2" y="0"/>
                </a:cxn>
              </a:cxnLst>
              <a:rect l="T6" t="0" r="T7" b="0"/>
              <a:pathLst>
                <a:path w="434">
                  <a:moveTo>
                    <a:pt x="0" y="0"/>
                  </a:moveTo>
                  <a:lnTo>
                    <a:pt x="434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868" name="Freeform 59"/>
            <p:cNvSpPr>
              <a:spLocks/>
            </p:cNvSpPr>
            <p:nvPr/>
          </p:nvSpPr>
          <p:spPr bwMode="auto">
            <a:xfrm>
              <a:off x="2451" y="3267"/>
              <a:ext cx="1199" cy="0"/>
            </a:xfrm>
            <a:custGeom>
              <a:avLst/>
              <a:gdLst>
                <a:gd name="T0" fmla="*/ 0 w 434"/>
                <a:gd name="T1" fmla="*/ 533005 w 434"/>
                <a:gd name="T2" fmla="*/ 533005 w 434"/>
                <a:gd name="T3" fmla="*/ 0 60000 65536"/>
                <a:gd name="T4" fmla="*/ 0 60000 65536"/>
                <a:gd name="T5" fmla="*/ 0 60000 65536"/>
                <a:gd name="T6" fmla="*/ 0 w 434"/>
                <a:gd name="T7" fmla="*/ 434 w 434"/>
              </a:gdLst>
              <a:ahLst/>
              <a:cxnLst>
                <a:cxn ang="T3">
                  <a:pos x="T0" y="0"/>
                </a:cxn>
                <a:cxn ang="T4">
                  <a:pos x="T1" y="0"/>
                </a:cxn>
                <a:cxn ang="T5">
                  <a:pos x="T2" y="0"/>
                </a:cxn>
              </a:cxnLst>
              <a:rect l="T6" t="0" r="T7" b="0"/>
              <a:pathLst>
                <a:path w="434">
                  <a:moveTo>
                    <a:pt x="0" y="0"/>
                  </a:moveTo>
                  <a:lnTo>
                    <a:pt x="434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869" name="Freeform 60"/>
            <p:cNvSpPr>
              <a:spLocks/>
            </p:cNvSpPr>
            <p:nvPr/>
          </p:nvSpPr>
          <p:spPr bwMode="auto">
            <a:xfrm>
              <a:off x="2451" y="3163"/>
              <a:ext cx="1199" cy="0"/>
            </a:xfrm>
            <a:custGeom>
              <a:avLst/>
              <a:gdLst>
                <a:gd name="T0" fmla="*/ 0 w 434"/>
                <a:gd name="T1" fmla="*/ 533005 w 434"/>
                <a:gd name="T2" fmla="*/ 533005 w 434"/>
                <a:gd name="T3" fmla="*/ 0 60000 65536"/>
                <a:gd name="T4" fmla="*/ 0 60000 65536"/>
                <a:gd name="T5" fmla="*/ 0 60000 65536"/>
                <a:gd name="T6" fmla="*/ 0 w 434"/>
                <a:gd name="T7" fmla="*/ 434 w 434"/>
              </a:gdLst>
              <a:ahLst/>
              <a:cxnLst>
                <a:cxn ang="T3">
                  <a:pos x="T0" y="0"/>
                </a:cxn>
                <a:cxn ang="T4">
                  <a:pos x="T1" y="0"/>
                </a:cxn>
                <a:cxn ang="T5">
                  <a:pos x="T2" y="0"/>
                </a:cxn>
              </a:cxnLst>
              <a:rect l="T6" t="0" r="T7" b="0"/>
              <a:pathLst>
                <a:path w="434">
                  <a:moveTo>
                    <a:pt x="0" y="0"/>
                  </a:moveTo>
                  <a:lnTo>
                    <a:pt x="434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870" name="Freeform 61"/>
            <p:cNvSpPr>
              <a:spLocks/>
            </p:cNvSpPr>
            <p:nvPr/>
          </p:nvSpPr>
          <p:spPr bwMode="auto">
            <a:xfrm>
              <a:off x="2451" y="3057"/>
              <a:ext cx="1199" cy="0"/>
            </a:xfrm>
            <a:custGeom>
              <a:avLst/>
              <a:gdLst>
                <a:gd name="T0" fmla="*/ 0 w 434"/>
                <a:gd name="T1" fmla="*/ 533005 w 434"/>
                <a:gd name="T2" fmla="*/ 533005 w 434"/>
                <a:gd name="T3" fmla="*/ 0 60000 65536"/>
                <a:gd name="T4" fmla="*/ 0 60000 65536"/>
                <a:gd name="T5" fmla="*/ 0 60000 65536"/>
                <a:gd name="T6" fmla="*/ 0 w 434"/>
                <a:gd name="T7" fmla="*/ 434 w 434"/>
              </a:gdLst>
              <a:ahLst/>
              <a:cxnLst>
                <a:cxn ang="T3">
                  <a:pos x="T0" y="0"/>
                </a:cxn>
                <a:cxn ang="T4">
                  <a:pos x="T1" y="0"/>
                </a:cxn>
                <a:cxn ang="T5">
                  <a:pos x="T2" y="0"/>
                </a:cxn>
              </a:cxnLst>
              <a:rect l="T6" t="0" r="T7" b="0"/>
              <a:pathLst>
                <a:path w="434">
                  <a:moveTo>
                    <a:pt x="0" y="0"/>
                  </a:moveTo>
                  <a:lnTo>
                    <a:pt x="434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871" name="Freeform 62"/>
            <p:cNvSpPr>
              <a:spLocks/>
            </p:cNvSpPr>
            <p:nvPr/>
          </p:nvSpPr>
          <p:spPr bwMode="auto">
            <a:xfrm>
              <a:off x="2451" y="2948"/>
              <a:ext cx="1199" cy="0"/>
            </a:xfrm>
            <a:custGeom>
              <a:avLst/>
              <a:gdLst>
                <a:gd name="T0" fmla="*/ 0 w 434"/>
                <a:gd name="T1" fmla="*/ 533005 w 434"/>
                <a:gd name="T2" fmla="*/ 533005 w 434"/>
                <a:gd name="T3" fmla="*/ 0 60000 65536"/>
                <a:gd name="T4" fmla="*/ 0 60000 65536"/>
                <a:gd name="T5" fmla="*/ 0 60000 65536"/>
                <a:gd name="T6" fmla="*/ 0 w 434"/>
                <a:gd name="T7" fmla="*/ 434 w 434"/>
              </a:gdLst>
              <a:ahLst/>
              <a:cxnLst>
                <a:cxn ang="T3">
                  <a:pos x="T0" y="0"/>
                </a:cxn>
                <a:cxn ang="T4">
                  <a:pos x="T1" y="0"/>
                </a:cxn>
                <a:cxn ang="T5">
                  <a:pos x="T2" y="0"/>
                </a:cxn>
              </a:cxnLst>
              <a:rect l="T6" t="0" r="T7" b="0"/>
              <a:pathLst>
                <a:path w="434">
                  <a:moveTo>
                    <a:pt x="0" y="0"/>
                  </a:moveTo>
                  <a:lnTo>
                    <a:pt x="434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872" name="Freeform 63"/>
            <p:cNvSpPr>
              <a:spLocks/>
            </p:cNvSpPr>
            <p:nvPr/>
          </p:nvSpPr>
          <p:spPr bwMode="auto">
            <a:xfrm>
              <a:off x="2451" y="2843"/>
              <a:ext cx="1199" cy="0"/>
            </a:xfrm>
            <a:custGeom>
              <a:avLst/>
              <a:gdLst>
                <a:gd name="T0" fmla="*/ 0 w 434"/>
                <a:gd name="T1" fmla="*/ 533005 w 434"/>
                <a:gd name="T2" fmla="*/ 533005 w 434"/>
                <a:gd name="T3" fmla="*/ 0 60000 65536"/>
                <a:gd name="T4" fmla="*/ 0 60000 65536"/>
                <a:gd name="T5" fmla="*/ 0 60000 65536"/>
                <a:gd name="T6" fmla="*/ 0 w 434"/>
                <a:gd name="T7" fmla="*/ 434 w 434"/>
              </a:gdLst>
              <a:ahLst/>
              <a:cxnLst>
                <a:cxn ang="T3">
                  <a:pos x="T0" y="0"/>
                </a:cxn>
                <a:cxn ang="T4">
                  <a:pos x="T1" y="0"/>
                </a:cxn>
                <a:cxn ang="T5">
                  <a:pos x="T2" y="0"/>
                </a:cxn>
              </a:cxnLst>
              <a:rect l="T6" t="0" r="T7" b="0"/>
              <a:pathLst>
                <a:path w="434">
                  <a:moveTo>
                    <a:pt x="0" y="0"/>
                  </a:moveTo>
                  <a:lnTo>
                    <a:pt x="434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873" name="Freeform 64"/>
            <p:cNvSpPr>
              <a:spLocks/>
            </p:cNvSpPr>
            <p:nvPr/>
          </p:nvSpPr>
          <p:spPr bwMode="auto">
            <a:xfrm>
              <a:off x="2451" y="2737"/>
              <a:ext cx="1199" cy="0"/>
            </a:xfrm>
            <a:custGeom>
              <a:avLst/>
              <a:gdLst>
                <a:gd name="T0" fmla="*/ 0 w 434"/>
                <a:gd name="T1" fmla="*/ 533005 w 434"/>
                <a:gd name="T2" fmla="*/ 533005 w 434"/>
                <a:gd name="T3" fmla="*/ 0 60000 65536"/>
                <a:gd name="T4" fmla="*/ 0 60000 65536"/>
                <a:gd name="T5" fmla="*/ 0 60000 65536"/>
                <a:gd name="T6" fmla="*/ 0 w 434"/>
                <a:gd name="T7" fmla="*/ 434 w 434"/>
              </a:gdLst>
              <a:ahLst/>
              <a:cxnLst>
                <a:cxn ang="T3">
                  <a:pos x="T0" y="0"/>
                </a:cxn>
                <a:cxn ang="T4">
                  <a:pos x="T1" y="0"/>
                </a:cxn>
                <a:cxn ang="T5">
                  <a:pos x="T2" y="0"/>
                </a:cxn>
              </a:cxnLst>
              <a:rect l="T6" t="0" r="T7" b="0"/>
              <a:pathLst>
                <a:path w="434">
                  <a:moveTo>
                    <a:pt x="0" y="0"/>
                  </a:moveTo>
                  <a:lnTo>
                    <a:pt x="434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874" name="Freeform 65"/>
            <p:cNvSpPr>
              <a:spLocks/>
            </p:cNvSpPr>
            <p:nvPr/>
          </p:nvSpPr>
          <p:spPr bwMode="auto">
            <a:xfrm>
              <a:off x="2451" y="2631"/>
              <a:ext cx="1199" cy="0"/>
            </a:xfrm>
            <a:custGeom>
              <a:avLst/>
              <a:gdLst>
                <a:gd name="T0" fmla="*/ 0 w 434"/>
                <a:gd name="T1" fmla="*/ 533005 w 434"/>
                <a:gd name="T2" fmla="*/ 533005 w 434"/>
                <a:gd name="T3" fmla="*/ 0 60000 65536"/>
                <a:gd name="T4" fmla="*/ 0 60000 65536"/>
                <a:gd name="T5" fmla="*/ 0 60000 65536"/>
                <a:gd name="T6" fmla="*/ 0 w 434"/>
                <a:gd name="T7" fmla="*/ 434 w 434"/>
              </a:gdLst>
              <a:ahLst/>
              <a:cxnLst>
                <a:cxn ang="T3">
                  <a:pos x="T0" y="0"/>
                </a:cxn>
                <a:cxn ang="T4">
                  <a:pos x="T1" y="0"/>
                </a:cxn>
                <a:cxn ang="T5">
                  <a:pos x="T2" y="0"/>
                </a:cxn>
              </a:cxnLst>
              <a:rect l="T6" t="0" r="T7" b="0"/>
              <a:pathLst>
                <a:path w="434">
                  <a:moveTo>
                    <a:pt x="0" y="0"/>
                  </a:moveTo>
                  <a:lnTo>
                    <a:pt x="434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875" name="Freeform 66"/>
            <p:cNvSpPr>
              <a:spLocks/>
            </p:cNvSpPr>
            <p:nvPr/>
          </p:nvSpPr>
          <p:spPr bwMode="auto">
            <a:xfrm>
              <a:off x="2451" y="2526"/>
              <a:ext cx="1199" cy="0"/>
            </a:xfrm>
            <a:custGeom>
              <a:avLst/>
              <a:gdLst>
                <a:gd name="T0" fmla="*/ 0 w 434"/>
                <a:gd name="T1" fmla="*/ 533005 w 434"/>
                <a:gd name="T2" fmla="*/ 533005 w 434"/>
                <a:gd name="T3" fmla="*/ 0 60000 65536"/>
                <a:gd name="T4" fmla="*/ 0 60000 65536"/>
                <a:gd name="T5" fmla="*/ 0 60000 65536"/>
                <a:gd name="T6" fmla="*/ 0 w 434"/>
                <a:gd name="T7" fmla="*/ 434 w 434"/>
              </a:gdLst>
              <a:ahLst/>
              <a:cxnLst>
                <a:cxn ang="T3">
                  <a:pos x="T0" y="0"/>
                </a:cxn>
                <a:cxn ang="T4">
                  <a:pos x="T1" y="0"/>
                </a:cxn>
                <a:cxn ang="T5">
                  <a:pos x="T2" y="0"/>
                </a:cxn>
              </a:cxnLst>
              <a:rect l="T6" t="0" r="T7" b="0"/>
              <a:pathLst>
                <a:path w="434">
                  <a:moveTo>
                    <a:pt x="0" y="0"/>
                  </a:moveTo>
                  <a:lnTo>
                    <a:pt x="434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876" name="Line 67"/>
            <p:cNvSpPr>
              <a:spLocks noChangeShapeType="1"/>
            </p:cNvSpPr>
            <p:nvPr/>
          </p:nvSpPr>
          <p:spPr bwMode="auto">
            <a:xfrm>
              <a:off x="2451" y="2526"/>
              <a:ext cx="1199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877" name="Freeform 68"/>
            <p:cNvSpPr>
              <a:spLocks/>
            </p:cNvSpPr>
            <p:nvPr/>
          </p:nvSpPr>
          <p:spPr bwMode="auto">
            <a:xfrm>
              <a:off x="2451" y="2526"/>
              <a:ext cx="1199" cy="1062"/>
            </a:xfrm>
            <a:custGeom>
              <a:avLst/>
              <a:gdLst>
                <a:gd name="T0" fmla="*/ 0 w 434"/>
                <a:gd name="T1" fmla="*/ 952213 h 342"/>
                <a:gd name="T2" fmla="*/ 533005 w 434"/>
                <a:gd name="T3" fmla="*/ 952213 h 342"/>
                <a:gd name="T4" fmla="*/ 533005 w 434"/>
                <a:gd name="T5" fmla="*/ 0 h 342"/>
                <a:gd name="T6" fmla="*/ 0 60000 65536"/>
                <a:gd name="T7" fmla="*/ 0 60000 65536"/>
                <a:gd name="T8" fmla="*/ 0 60000 65536"/>
                <a:gd name="T9" fmla="*/ 0 w 434"/>
                <a:gd name="T10" fmla="*/ 0 h 342"/>
                <a:gd name="T11" fmla="*/ 434 w 434"/>
                <a:gd name="T12" fmla="*/ 342 h 34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4" h="342">
                  <a:moveTo>
                    <a:pt x="0" y="342"/>
                  </a:moveTo>
                  <a:lnTo>
                    <a:pt x="434" y="342"/>
                  </a:lnTo>
                  <a:lnTo>
                    <a:pt x="434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878" name="Line 69"/>
            <p:cNvSpPr>
              <a:spLocks noChangeShapeType="1"/>
            </p:cNvSpPr>
            <p:nvPr/>
          </p:nvSpPr>
          <p:spPr bwMode="auto">
            <a:xfrm>
              <a:off x="2451" y="3588"/>
              <a:ext cx="1199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879" name="Line 70"/>
            <p:cNvSpPr>
              <a:spLocks noChangeShapeType="1"/>
            </p:cNvSpPr>
            <p:nvPr/>
          </p:nvSpPr>
          <p:spPr bwMode="auto">
            <a:xfrm flipV="1">
              <a:off x="2515" y="3573"/>
              <a:ext cx="0" cy="1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880" name="Line 71"/>
            <p:cNvSpPr>
              <a:spLocks noChangeShapeType="1"/>
            </p:cNvSpPr>
            <p:nvPr/>
          </p:nvSpPr>
          <p:spPr bwMode="auto">
            <a:xfrm>
              <a:off x="2515" y="2526"/>
              <a:ext cx="0" cy="12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881" name="Rectangle 72"/>
            <p:cNvSpPr>
              <a:spLocks noChangeArrowheads="1"/>
            </p:cNvSpPr>
            <p:nvPr/>
          </p:nvSpPr>
          <p:spPr bwMode="auto">
            <a:xfrm>
              <a:off x="2460" y="3598"/>
              <a:ext cx="131" cy="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de-DE" sz="900">
                  <a:solidFill>
                    <a:srgbClr val="000000"/>
                  </a:solidFill>
                  <a:latin typeface="Helvetica" pitchFamily="34" charset="0"/>
                </a:rPr>
                <a:t>400</a:t>
              </a:r>
              <a:endParaRPr lang="ru-RU" b="1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20882" name="Line 73"/>
            <p:cNvSpPr>
              <a:spLocks noChangeShapeType="1"/>
            </p:cNvSpPr>
            <p:nvPr/>
          </p:nvSpPr>
          <p:spPr bwMode="auto">
            <a:xfrm flipV="1">
              <a:off x="2678" y="3573"/>
              <a:ext cx="0" cy="1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883" name="Line 74"/>
            <p:cNvSpPr>
              <a:spLocks noChangeShapeType="1"/>
            </p:cNvSpPr>
            <p:nvPr/>
          </p:nvSpPr>
          <p:spPr bwMode="auto">
            <a:xfrm>
              <a:off x="2678" y="2526"/>
              <a:ext cx="0" cy="12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884" name="Rectangle 75"/>
            <p:cNvSpPr>
              <a:spLocks noChangeArrowheads="1"/>
            </p:cNvSpPr>
            <p:nvPr/>
          </p:nvSpPr>
          <p:spPr bwMode="auto">
            <a:xfrm>
              <a:off x="2622" y="3598"/>
              <a:ext cx="130" cy="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de-DE" sz="900">
                  <a:solidFill>
                    <a:srgbClr val="000000"/>
                  </a:solidFill>
                  <a:latin typeface="Helvetica" pitchFamily="34" charset="0"/>
                </a:rPr>
                <a:t>450</a:t>
              </a:r>
              <a:endParaRPr lang="ru-RU" b="1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20885" name="Line 76"/>
            <p:cNvSpPr>
              <a:spLocks noChangeShapeType="1"/>
            </p:cNvSpPr>
            <p:nvPr/>
          </p:nvSpPr>
          <p:spPr bwMode="auto">
            <a:xfrm flipV="1">
              <a:off x="2837" y="3573"/>
              <a:ext cx="0" cy="1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886" name="Line 77"/>
            <p:cNvSpPr>
              <a:spLocks noChangeShapeType="1"/>
            </p:cNvSpPr>
            <p:nvPr/>
          </p:nvSpPr>
          <p:spPr bwMode="auto">
            <a:xfrm>
              <a:off x="2837" y="2526"/>
              <a:ext cx="0" cy="12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887" name="Rectangle 78"/>
            <p:cNvSpPr>
              <a:spLocks noChangeArrowheads="1"/>
            </p:cNvSpPr>
            <p:nvPr/>
          </p:nvSpPr>
          <p:spPr bwMode="auto">
            <a:xfrm>
              <a:off x="2781" y="3598"/>
              <a:ext cx="130" cy="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de-DE" sz="900">
                  <a:solidFill>
                    <a:srgbClr val="000000"/>
                  </a:solidFill>
                  <a:latin typeface="Helvetica" pitchFamily="34" charset="0"/>
                </a:rPr>
                <a:t>500</a:t>
              </a:r>
              <a:endParaRPr lang="ru-RU" b="1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20888" name="Line 79"/>
            <p:cNvSpPr>
              <a:spLocks noChangeShapeType="1"/>
            </p:cNvSpPr>
            <p:nvPr/>
          </p:nvSpPr>
          <p:spPr bwMode="auto">
            <a:xfrm flipV="1">
              <a:off x="3000" y="3573"/>
              <a:ext cx="0" cy="1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889" name="Line 80"/>
            <p:cNvSpPr>
              <a:spLocks noChangeShapeType="1"/>
            </p:cNvSpPr>
            <p:nvPr/>
          </p:nvSpPr>
          <p:spPr bwMode="auto">
            <a:xfrm>
              <a:off x="3000" y="2526"/>
              <a:ext cx="0" cy="12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890" name="Rectangle 81"/>
            <p:cNvSpPr>
              <a:spLocks noChangeArrowheads="1"/>
            </p:cNvSpPr>
            <p:nvPr/>
          </p:nvSpPr>
          <p:spPr bwMode="auto">
            <a:xfrm>
              <a:off x="2945" y="3598"/>
              <a:ext cx="131" cy="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de-DE" sz="900">
                  <a:solidFill>
                    <a:srgbClr val="000000"/>
                  </a:solidFill>
                  <a:latin typeface="Helvetica" pitchFamily="34" charset="0"/>
                </a:rPr>
                <a:t>550</a:t>
              </a:r>
              <a:endParaRPr lang="ru-RU" b="1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20891" name="Line 82"/>
            <p:cNvSpPr>
              <a:spLocks noChangeShapeType="1"/>
            </p:cNvSpPr>
            <p:nvPr/>
          </p:nvSpPr>
          <p:spPr bwMode="auto">
            <a:xfrm flipV="1">
              <a:off x="3163" y="3573"/>
              <a:ext cx="0" cy="1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892" name="Line 83"/>
            <p:cNvSpPr>
              <a:spLocks noChangeShapeType="1"/>
            </p:cNvSpPr>
            <p:nvPr/>
          </p:nvSpPr>
          <p:spPr bwMode="auto">
            <a:xfrm>
              <a:off x="3163" y="2526"/>
              <a:ext cx="0" cy="12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893" name="Rectangle 84"/>
            <p:cNvSpPr>
              <a:spLocks noChangeArrowheads="1"/>
            </p:cNvSpPr>
            <p:nvPr/>
          </p:nvSpPr>
          <p:spPr bwMode="auto">
            <a:xfrm>
              <a:off x="3107" y="3598"/>
              <a:ext cx="131" cy="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de-DE" sz="900">
                  <a:solidFill>
                    <a:srgbClr val="000000"/>
                  </a:solidFill>
                  <a:latin typeface="Helvetica" pitchFamily="34" charset="0"/>
                </a:rPr>
                <a:t>600</a:t>
              </a:r>
              <a:endParaRPr lang="ru-RU" b="1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20894" name="Line 85"/>
            <p:cNvSpPr>
              <a:spLocks noChangeShapeType="1"/>
            </p:cNvSpPr>
            <p:nvPr/>
          </p:nvSpPr>
          <p:spPr bwMode="auto">
            <a:xfrm flipV="1">
              <a:off x="3323" y="3573"/>
              <a:ext cx="0" cy="1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895" name="Line 86"/>
            <p:cNvSpPr>
              <a:spLocks noChangeShapeType="1"/>
            </p:cNvSpPr>
            <p:nvPr/>
          </p:nvSpPr>
          <p:spPr bwMode="auto">
            <a:xfrm>
              <a:off x="3323" y="2526"/>
              <a:ext cx="0" cy="12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896" name="Rectangle 87"/>
            <p:cNvSpPr>
              <a:spLocks noChangeArrowheads="1"/>
            </p:cNvSpPr>
            <p:nvPr/>
          </p:nvSpPr>
          <p:spPr bwMode="auto">
            <a:xfrm>
              <a:off x="3268" y="3598"/>
              <a:ext cx="130" cy="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de-DE" sz="900">
                  <a:solidFill>
                    <a:srgbClr val="000000"/>
                  </a:solidFill>
                  <a:latin typeface="Helvetica" pitchFamily="34" charset="0"/>
                </a:rPr>
                <a:t>650</a:t>
              </a:r>
              <a:endParaRPr lang="ru-RU" b="1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20897" name="Line 88"/>
            <p:cNvSpPr>
              <a:spLocks noChangeShapeType="1"/>
            </p:cNvSpPr>
            <p:nvPr/>
          </p:nvSpPr>
          <p:spPr bwMode="auto">
            <a:xfrm flipV="1">
              <a:off x="3486" y="3573"/>
              <a:ext cx="0" cy="1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898" name="Line 89"/>
            <p:cNvSpPr>
              <a:spLocks noChangeShapeType="1"/>
            </p:cNvSpPr>
            <p:nvPr/>
          </p:nvSpPr>
          <p:spPr bwMode="auto">
            <a:xfrm>
              <a:off x="3486" y="2526"/>
              <a:ext cx="0" cy="12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899" name="Rectangle 90"/>
            <p:cNvSpPr>
              <a:spLocks noChangeArrowheads="1"/>
            </p:cNvSpPr>
            <p:nvPr/>
          </p:nvSpPr>
          <p:spPr bwMode="auto">
            <a:xfrm>
              <a:off x="3431" y="3598"/>
              <a:ext cx="131" cy="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de-DE" sz="900">
                  <a:solidFill>
                    <a:srgbClr val="000000"/>
                  </a:solidFill>
                  <a:latin typeface="Helvetica" pitchFamily="34" charset="0"/>
                </a:rPr>
                <a:t>700</a:t>
              </a:r>
              <a:endParaRPr lang="ru-RU" b="1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20900" name="Line 91"/>
            <p:cNvSpPr>
              <a:spLocks noChangeShapeType="1"/>
            </p:cNvSpPr>
            <p:nvPr/>
          </p:nvSpPr>
          <p:spPr bwMode="auto">
            <a:xfrm flipV="1">
              <a:off x="3650" y="3573"/>
              <a:ext cx="0" cy="15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901" name="Line 92"/>
            <p:cNvSpPr>
              <a:spLocks noChangeShapeType="1"/>
            </p:cNvSpPr>
            <p:nvPr/>
          </p:nvSpPr>
          <p:spPr bwMode="auto">
            <a:xfrm>
              <a:off x="3650" y="2526"/>
              <a:ext cx="0" cy="12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902" name="Rectangle 93"/>
            <p:cNvSpPr>
              <a:spLocks noChangeArrowheads="1"/>
            </p:cNvSpPr>
            <p:nvPr/>
          </p:nvSpPr>
          <p:spPr bwMode="auto">
            <a:xfrm>
              <a:off x="3594" y="3598"/>
              <a:ext cx="130" cy="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de-DE" sz="900">
                  <a:solidFill>
                    <a:srgbClr val="000000"/>
                  </a:solidFill>
                  <a:latin typeface="Helvetica" pitchFamily="34" charset="0"/>
                </a:rPr>
                <a:t>750</a:t>
              </a:r>
              <a:endParaRPr lang="ru-RU" b="1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20903" name="Line 94"/>
            <p:cNvSpPr>
              <a:spLocks noChangeShapeType="1"/>
            </p:cNvSpPr>
            <p:nvPr/>
          </p:nvSpPr>
          <p:spPr bwMode="auto">
            <a:xfrm flipH="1">
              <a:off x="3635" y="3588"/>
              <a:ext cx="15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904" name="Line 95"/>
            <p:cNvSpPr>
              <a:spLocks noChangeShapeType="1"/>
            </p:cNvSpPr>
            <p:nvPr/>
          </p:nvSpPr>
          <p:spPr bwMode="auto">
            <a:xfrm flipH="1">
              <a:off x="3635" y="3480"/>
              <a:ext cx="15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905" name="Line 96"/>
            <p:cNvSpPr>
              <a:spLocks noChangeShapeType="1"/>
            </p:cNvSpPr>
            <p:nvPr/>
          </p:nvSpPr>
          <p:spPr bwMode="auto">
            <a:xfrm flipH="1">
              <a:off x="3635" y="3375"/>
              <a:ext cx="15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906" name="Line 97"/>
            <p:cNvSpPr>
              <a:spLocks noChangeShapeType="1"/>
            </p:cNvSpPr>
            <p:nvPr/>
          </p:nvSpPr>
          <p:spPr bwMode="auto">
            <a:xfrm flipH="1">
              <a:off x="3635" y="3267"/>
              <a:ext cx="15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907" name="Line 98"/>
            <p:cNvSpPr>
              <a:spLocks noChangeShapeType="1"/>
            </p:cNvSpPr>
            <p:nvPr/>
          </p:nvSpPr>
          <p:spPr bwMode="auto">
            <a:xfrm flipH="1">
              <a:off x="3635" y="3163"/>
              <a:ext cx="15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908" name="Line 99"/>
            <p:cNvSpPr>
              <a:spLocks noChangeShapeType="1"/>
            </p:cNvSpPr>
            <p:nvPr/>
          </p:nvSpPr>
          <p:spPr bwMode="auto">
            <a:xfrm flipH="1">
              <a:off x="3635" y="3057"/>
              <a:ext cx="15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909" name="Line 100"/>
            <p:cNvSpPr>
              <a:spLocks noChangeShapeType="1"/>
            </p:cNvSpPr>
            <p:nvPr/>
          </p:nvSpPr>
          <p:spPr bwMode="auto">
            <a:xfrm flipH="1">
              <a:off x="3635" y="2948"/>
              <a:ext cx="15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910" name="Line 101"/>
            <p:cNvSpPr>
              <a:spLocks noChangeShapeType="1"/>
            </p:cNvSpPr>
            <p:nvPr/>
          </p:nvSpPr>
          <p:spPr bwMode="auto">
            <a:xfrm flipH="1">
              <a:off x="3635" y="2843"/>
              <a:ext cx="15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911" name="Line 102"/>
            <p:cNvSpPr>
              <a:spLocks noChangeShapeType="1"/>
            </p:cNvSpPr>
            <p:nvPr/>
          </p:nvSpPr>
          <p:spPr bwMode="auto">
            <a:xfrm flipH="1">
              <a:off x="3635" y="2737"/>
              <a:ext cx="15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912" name="Line 103"/>
            <p:cNvSpPr>
              <a:spLocks noChangeShapeType="1"/>
            </p:cNvSpPr>
            <p:nvPr/>
          </p:nvSpPr>
          <p:spPr bwMode="auto">
            <a:xfrm flipH="1">
              <a:off x="3635" y="2631"/>
              <a:ext cx="15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913" name="Line 104"/>
            <p:cNvSpPr>
              <a:spLocks noChangeShapeType="1"/>
            </p:cNvSpPr>
            <p:nvPr/>
          </p:nvSpPr>
          <p:spPr bwMode="auto">
            <a:xfrm flipH="1">
              <a:off x="3635" y="2526"/>
              <a:ext cx="15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914" name="Line 105"/>
            <p:cNvSpPr>
              <a:spLocks noChangeShapeType="1"/>
            </p:cNvSpPr>
            <p:nvPr/>
          </p:nvSpPr>
          <p:spPr bwMode="auto">
            <a:xfrm>
              <a:off x="2451" y="2526"/>
              <a:ext cx="1199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915" name="Freeform 106"/>
            <p:cNvSpPr>
              <a:spLocks/>
            </p:cNvSpPr>
            <p:nvPr/>
          </p:nvSpPr>
          <p:spPr bwMode="auto">
            <a:xfrm>
              <a:off x="2451" y="2526"/>
              <a:ext cx="1199" cy="1062"/>
            </a:xfrm>
            <a:custGeom>
              <a:avLst/>
              <a:gdLst>
                <a:gd name="T0" fmla="*/ 0 w 434"/>
                <a:gd name="T1" fmla="*/ 952213 h 342"/>
                <a:gd name="T2" fmla="*/ 533005 w 434"/>
                <a:gd name="T3" fmla="*/ 952213 h 342"/>
                <a:gd name="T4" fmla="*/ 533005 w 434"/>
                <a:gd name="T5" fmla="*/ 0 h 342"/>
                <a:gd name="T6" fmla="*/ 0 60000 65536"/>
                <a:gd name="T7" fmla="*/ 0 60000 65536"/>
                <a:gd name="T8" fmla="*/ 0 60000 65536"/>
                <a:gd name="T9" fmla="*/ 0 w 434"/>
                <a:gd name="T10" fmla="*/ 0 h 342"/>
                <a:gd name="T11" fmla="*/ 434 w 434"/>
                <a:gd name="T12" fmla="*/ 342 h 34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4" h="342">
                  <a:moveTo>
                    <a:pt x="0" y="342"/>
                  </a:moveTo>
                  <a:lnTo>
                    <a:pt x="434" y="342"/>
                  </a:lnTo>
                  <a:lnTo>
                    <a:pt x="434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916" name="Rectangle 107"/>
            <p:cNvSpPr>
              <a:spLocks noChangeArrowheads="1"/>
            </p:cNvSpPr>
            <p:nvPr/>
          </p:nvSpPr>
          <p:spPr bwMode="auto">
            <a:xfrm>
              <a:off x="3638" y="2500"/>
              <a:ext cx="44" cy="1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ru-RU"/>
                <a:t> </a:t>
              </a:r>
              <a:endParaRPr lang="ru-RU" b="1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grpSp>
          <p:nvGrpSpPr>
            <p:cNvPr id="120917" name="Group 108"/>
            <p:cNvGrpSpPr>
              <a:grpSpLocks/>
            </p:cNvGrpSpPr>
            <p:nvPr/>
          </p:nvGrpSpPr>
          <p:grpSpPr bwMode="auto">
            <a:xfrm>
              <a:off x="2447" y="2526"/>
              <a:ext cx="1196" cy="1062"/>
              <a:chOff x="1075" y="2408"/>
              <a:chExt cx="1509" cy="1249"/>
            </a:xfrm>
          </p:grpSpPr>
          <p:sp>
            <p:nvSpPr>
              <p:cNvPr id="120942" name="Line 109"/>
              <p:cNvSpPr>
                <a:spLocks noChangeShapeType="1"/>
              </p:cNvSpPr>
              <p:nvPr/>
            </p:nvSpPr>
            <p:spPr bwMode="auto">
              <a:xfrm>
                <a:off x="1075" y="3645"/>
                <a:ext cx="91" cy="0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90000" tIns="46800" rIns="90000" bIns="46800" anchor="ctr"/>
              <a:lstStyle/>
              <a:p>
                <a:endParaRPr lang="ru-RU"/>
              </a:p>
            </p:txBody>
          </p:sp>
          <p:sp>
            <p:nvSpPr>
              <p:cNvPr id="120943" name="Line 110"/>
              <p:cNvSpPr>
                <a:spLocks noChangeShapeType="1"/>
              </p:cNvSpPr>
              <p:nvPr/>
            </p:nvSpPr>
            <p:spPr bwMode="auto">
              <a:xfrm>
                <a:off x="1155" y="2418"/>
                <a:ext cx="1224" cy="0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90000" tIns="46800" rIns="90000" bIns="46800" anchor="ctr"/>
              <a:lstStyle/>
              <a:p>
                <a:endParaRPr lang="ru-RU"/>
              </a:p>
            </p:txBody>
          </p:sp>
          <p:sp>
            <p:nvSpPr>
              <p:cNvPr id="120944" name="Line 111"/>
              <p:cNvSpPr>
                <a:spLocks noChangeShapeType="1"/>
              </p:cNvSpPr>
              <p:nvPr/>
            </p:nvSpPr>
            <p:spPr bwMode="auto">
              <a:xfrm flipV="1">
                <a:off x="1161" y="2408"/>
                <a:ext cx="0" cy="1249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90000" tIns="46800" rIns="90000" bIns="46800" anchor="ctr"/>
              <a:lstStyle/>
              <a:p>
                <a:endParaRPr lang="ru-RU"/>
              </a:p>
            </p:txBody>
          </p:sp>
          <p:sp>
            <p:nvSpPr>
              <p:cNvPr id="120945" name="Line 112"/>
              <p:cNvSpPr>
                <a:spLocks noChangeShapeType="1"/>
              </p:cNvSpPr>
              <p:nvPr/>
            </p:nvSpPr>
            <p:spPr bwMode="auto">
              <a:xfrm flipV="1">
                <a:off x="2386" y="2408"/>
                <a:ext cx="0" cy="1249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90000" tIns="46800" rIns="90000" bIns="46800" anchor="ctr"/>
              <a:lstStyle/>
              <a:p>
                <a:endParaRPr lang="ru-RU"/>
              </a:p>
            </p:txBody>
          </p:sp>
          <p:sp>
            <p:nvSpPr>
              <p:cNvPr id="120946" name="Line 113"/>
              <p:cNvSpPr>
                <a:spLocks noChangeShapeType="1"/>
              </p:cNvSpPr>
              <p:nvPr/>
            </p:nvSpPr>
            <p:spPr bwMode="auto">
              <a:xfrm>
                <a:off x="2380" y="3647"/>
                <a:ext cx="204" cy="0"/>
              </a:xfrm>
              <a:prstGeom prst="line">
                <a:avLst/>
              </a:prstGeom>
              <a:noFill/>
              <a:ln w="381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90000" tIns="46800" rIns="90000" bIns="46800" anchor="ctr"/>
              <a:lstStyle/>
              <a:p>
                <a:endParaRPr lang="ru-RU"/>
              </a:p>
            </p:txBody>
          </p:sp>
        </p:grpSp>
        <p:sp>
          <p:nvSpPr>
            <p:cNvPr id="120918" name="Line 114"/>
            <p:cNvSpPr>
              <a:spLocks noChangeShapeType="1"/>
            </p:cNvSpPr>
            <p:nvPr/>
          </p:nvSpPr>
          <p:spPr bwMode="auto">
            <a:xfrm>
              <a:off x="2438" y="3588"/>
              <a:ext cx="11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919" name="Rectangle 115"/>
            <p:cNvSpPr>
              <a:spLocks noChangeArrowheads="1"/>
            </p:cNvSpPr>
            <p:nvPr/>
          </p:nvSpPr>
          <p:spPr bwMode="auto">
            <a:xfrm>
              <a:off x="2374" y="3564"/>
              <a:ext cx="44" cy="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de-DE" sz="900">
                  <a:solidFill>
                    <a:srgbClr val="000000"/>
                  </a:solidFill>
                  <a:latin typeface="Helvetica" pitchFamily="34" charset="0"/>
                </a:rPr>
                <a:t>0</a:t>
              </a:r>
              <a:endParaRPr lang="ru-RU" b="1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20920" name="Line 116"/>
            <p:cNvSpPr>
              <a:spLocks noChangeShapeType="1"/>
            </p:cNvSpPr>
            <p:nvPr/>
          </p:nvSpPr>
          <p:spPr bwMode="auto">
            <a:xfrm>
              <a:off x="2438" y="3480"/>
              <a:ext cx="11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921" name="Rectangle 117"/>
            <p:cNvSpPr>
              <a:spLocks noChangeArrowheads="1"/>
            </p:cNvSpPr>
            <p:nvPr/>
          </p:nvSpPr>
          <p:spPr bwMode="auto">
            <a:xfrm>
              <a:off x="2325" y="3455"/>
              <a:ext cx="109" cy="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de-DE" sz="900">
                  <a:solidFill>
                    <a:srgbClr val="000000"/>
                  </a:solidFill>
                  <a:latin typeface="Helvetica" pitchFamily="34" charset="0"/>
                </a:rPr>
                <a:t>0,1</a:t>
              </a:r>
              <a:endParaRPr lang="ru-RU" b="1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20922" name="Line 118"/>
            <p:cNvSpPr>
              <a:spLocks noChangeShapeType="1"/>
            </p:cNvSpPr>
            <p:nvPr/>
          </p:nvSpPr>
          <p:spPr bwMode="auto">
            <a:xfrm>
              <a:off x="2438" y="3375"/>
              <a:ext cx="11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923" name="Rectangle 119"/>
            <p:cNvSpPr>
              <a:spLocks noChangeArrowheads="1"/>
            </p:cNvSpPr>
            <p:nvPr/>
          </p:nvSpPr>
          <p:spPr bwMode="auto">
            <a:xfrm>
              <a:off x="2325" y="3350"/>
              <a:ext cx="109" cy="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de-DE" sz="900">
                  <a:solidFill>
                    <a:srgbClr val="000000"/>
                  </a:solidFill>
                  <a:latin typeface="Helvetica" pitchFamily="34" charset="0"/>
                </a:rPr>
                <a:t>0,2</a:t>
              </a:r>
              <a:endParaRPr lang="ru-RU" b="1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20924" name="Line 120"/>
            <p:cNvSpPr>
              <a:spLocks noChangeShapeType="1"/>
            </p:cNvSpPr>
            <p:nvPr/>
          </p:nvSpPr>
          <p:spPr bwMode="auto">
            <a:xfrm>
              <a:off x="2438" y="3267"/>
              <a:ext cx="11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925" name="Rectangle 121"/>
            <p:cNvSpPr>
              <a:spLocks noChangeArrowheads="1"/>
            </p:cNvSpPr>
            <p:nvPr/>
          </p:nvSpPr>
          <p:spPr bwMode="auto">
            <a:xfrm>
              <a:off x="2325" y="3244"/>
              <a:ext cx="109" cy="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de-DE" sz="900">
                  <a:solidFill>
                    <a:srgbClr val="000000"/>
                  </a:solidFill>
                  <a:latin typeface="Helvetica" pitchFamily="34" charset="0"/>
                </a:rPr>
                <a:t>0,3</a:t>
              </a:r>
              <a:endParaRPr lang="ru-RU" b="1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20926" name="Line 122"/>
            <p:cNvSpPr>
              <a:spLocks noChangeShapeType="1"/>
            </p:cNvSpPr>
            <p:nvPr/>
          </p:nvSpPr>
          <p:spPr bwMode="auto">
            <a:xfrm>
              <a:off x="2438" y="3163"/>
              <a:ext cx="11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927" name="Rectangle 123"/>
            <p:cNvSpPr>
              <a:spLocks noChangeArrowheads="1"/>
            </p:cNvSpPr>
            <p:nvPr/>
          </p:nvSpPr>
          <p:spPr bwMode="auto">
            <a:xfrm>
              <a:off x="2325" y="3139"/>
              <a:ext cx="109" cy="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de-DE" sz="900">
                  <a:solidFill>
                    <a:srgbClr val="000000"/>
                  </a:solidFill>
                  <a:latin typeface="Helvetica" pitchFamily="34" charset="0"/>
                </a:rPr>
                <a:t>0,4</a:t>
              </a:r>
              <a:endParaRPr lang="ru-RU" b="1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20928" name="Line 124"/>
            <p:cNvSpPr>
              <a:spLocks noChangeShapeType="1"/>
            </p:cNvSpPr>
            <p:nvPr/>
          </p:nvSpPr>
          <p:spPr bwMode="auto">
            <a:xfrm>
              <a:off x="2438" y="3057"/>
              <a:ext cx="11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929" name="Rectangle 125"/>
            <p:cNvSpPr>
              <a:spLocks noChangeArrowheads="1"/>
            </p:cNvSpPr>
            <p:nvPr/>
          </p:nvSpPr>
          <p:spPr bwMode="auto">
            <a:xfrm>
              <a:off x="2325" y="3032"/>
              <a:ext cx="109" cy="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de-DE" sz="900">
                  <a:solidFill>
                    <a:srgbClr val="000000"/>
                  </a:solidFill>
                  <a:latin typeface="Helvetica" pitchFamily="34" charset="0"/>
                </a:rPr>
                <a:t>0,5</a:t>
              </a:r>
              <a:endParaRPr lang="ru-RU" b="1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20930" name="Line 126"/>
            <p:cNvSpPr>
              <a:spLocks noChangeShapeType="1"/>
            </p:cNvSpPr>
            <p:nvPr/>
          </p:nvSpPr>
          <p:spPr bwMode="auto">
            <a:xfrm>
              <a:off x="2438" y="2948"/>
              <a:ext cx="11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931" name="Rectangle 127"/>
            <p:cNvSpPr>
              <a:spLocks noChangeArrowheads="1"/>
            </p:cNvSpPr>
            <p:nvPr/>
          </p:nvSpPr>
          <p:spPr bwMode="auto">
            <a:xfrm>
              <a:off x="2325" y="2924"/>
              <a:ext cx="109" cy="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de-DE" sz="900">
                  <a:solidFill>
                    <a:srgbClr val="000000"/>
                  </a:solidFill>
                  <a:latin typeface="Helvetica" pitchFamily="34" charset="0"/>
                </a:rPr>
                <a:t>0,6</a:t>
              </a:r>
              <a:endParaRPr lang="ru-RU" b="1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20932" name="Line 128"/>
            <p:cNvSpPr>
              <a:spLocks noChangeShapeType="1"/>
            </p:cNvSpPr>
            <p:nvPr/>
          </p:nvSpPr>
          <p:spPr bwMode="auto">
            <a:xfrm>
              <a:off x="2438" y="2843"/>
              <a:ext cx="11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933" name="Rectangle 129"/>
            <p:cNvSpPr>
              <a:spLocks noChangeArrowheads="1"/>
            </p:cNvSpPr>
            <p:nvPr/>
          </p:nvSpPr>
          <p:spPr bwMode="auto">
            <a:xfrm>
              <a:off x="2325" y="2816"/>
              <a:ext cx="109" cy="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de-DE" sz="900">
                  <a:solidFill>
                    <a:srgbClr val="000000"/>
                  </a:solidFill>
                  <a:latin typeface="Helvetica" pitchFamily="34" charset="0"/>
                </a:rPr>
                <a:t>0,7</a:t>
              </a:r>
              <a:endParaRPr lang="ru-RU" b="1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20934" name="Line 130"/>
            <p:cNvSpPr>
              <a:spLocks noChangeShapeType="1"/>
            </p:cNvSpPr>
            <p:nvPr/>
          </p:nvSpPr>
          <p:spPr bwMode="auto">
            <a:xfrm>
              <a:off x="2438" y="2737"/>
              <a:ext cx="11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935" name="Line 131"/>
            <p:cNvSpPr>
              <a:spLocks noChangeShapeType="1"/>
            </p:cNvSpPr>
            <p:nvPr/>
          </p:nvSpPr>
          <p:spPr bwMode="auto">
            <a:xfrm>
              <a:off x="2438" y="2631"/>
              <a:ext cx="11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936" name="Rectangle 132"/>
            <p:cNvSpPr>
              <a:spLocks noChangeArrowheads="1"/>
            </p:cNvSpPr>
            <p:nvPr/>
          </p:nvSpPr>
          <p:spPr bwMode="auto">
            <a:xfrm>
              <a:off x="2325" y="2605"/>
              <a:ext cx="109" cy="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de-DE" sz="900">
                  <a:solidFill>
                    <a:srgbClr val="000000"/>
                  </a:solidFill>
                  <a:latin typeface="Helvetica" pitchFamily="34" charset="0"/>
                </a:rPr>
                <a:t>0,9</a:t>
              </a:r>
              <a:endParaRPr lang="ru-RU" b="1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20937" name="Line 133"/>
            <p:cNvSpPr>
              <a:spLocks noChangeShapeType="1"/>
            </p:cNvSpPr>
            <p:nvPr/>
          </p:nvSpPr>
          <p:spPr bwMode="auto">
            <a:xfrm>
              <a:off x="2438" y="2526"/>
              <a:ext cx="11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938" name="Rectangle 134"/>
            <p:cNvSpPr>
              <a:spLocks noChangeArrowheads="1"/>
            </p:cNvSpPr>
            <p:nvPr/>
          </p:nvSpPr>
          <p:spPr bwMode="auto">
            <a:xfrm>
              <a:off x="2374" y="2500"/>
              <a:ext cx="44" cy="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de-DE" sz="900">
                  <a:solidFill>
                    <a:srgbClr val="000000"/>
                  </a:solidFill>
                  <a:latin typeface="Helvetica" pitchFamily="34" charset="0"/>
                </a:rPr>
                <a:t>1</a:t>
              </a:r>
              <a:endParaRPr lang="ru-RU" b="1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20939" name="Line 135"/>
            <p:cNvSpPr>
              <a:spLocks noChangeShapeType="1"/>
            </p:cNvSpPr>
            <p:nvPr/>
          </p:nvSpPr>
          <p:spPr bwMode="auto">
            <a:xfrm flipV="1">
              <a:off x="2450" y="2526"/>
              <a:ext cx="0" cy="1062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0940" name="Rectangle 136"/>
            <p:cNvSpPr>
              <a:spLocks noChangeArrowheads="1"/>
            </p:cNvSpPr>
            <p:nvPr/>
          </p:nvSpPr>
          <p:spPr bwMode="auto">
            <a:xfrm>
              <a:off x="2423" y="3568"/>
              <a:ext cx="44" cy="1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ru-RU"/>
                <a:t> </a:t>
              </a:r>
              <a:endParaRPr lang="ru-RU" b="1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20941" name="Rectangle 137"/>
            <p:cNvSpPr>
              <a:spLocks noChangeArrowheads="1"/>
            </p:cNvSpPr>
            <p:nvPr/>
          </p:nvSpPr>
          <p:spPr bwMode="auto">
            <a:xfrm>
              <a:off x="2309" y="2699"/>
              <a:ext cx="144" cy="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eaLnBrk="0" hangingPunct="0"/>
              <a:r>
                <a:rPr lang="de-DE" sz="900">
                  <a:solidFill>
                    <a:srgbClr val="000000"/>
                  </a:solidFill>
                  <a:latin typeface="Helvetica" pitchFamily="34" charset="0"/>
                </a:rPr>
                <a:t>0,8</a:t>
              </a:r>
              <a:endParaRPr lang="ru-RU" b="1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</p:grpSp>
      <p:sp>
        <p:nvSpPr>
          <p:cNvPr id="120854" name="Rectangle 138"/>
          <p:cNvSpPr>
            <a:spLocks noChangeArrowheads="1"/>
          </p:cNvSpPr>
          <p:nvPr/>
        </p:nvSpPr>
        <p:spPr bwMode="auto">
          <a:xfrm>
            <a:off x="1289050" y="5800725"/>
            <a:ext cx="120173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/>
            <a:r>
              <a:rPr lang="de-DE" sz="1100" b="1">
                <a:solidFill>
                  <a:srgbClr val="000000"/>
                </a:solidFill>
                <a:latin typeface="Helvetica" pitchFamily="34" charset="0"/>
              </a:rPr>
              <a:t>Длина волны, нм</a:t>
            </a:r>
            <a:endParaRPr lang="ru-RU" sz="1100" b="1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120841" name="Rectangle 147"/>
          <p:cNvSpPr>
            <a:spLocks noChangeArrowheads="1"/>
          </p:cNvSpPr>
          <p:nvPr/>
        </p:nvSpPr>
        <p:spPr bwMode="auto">
          <a:xfrm>
            <a:off x="6211888" y="6007100"/>
            <a:ext cx="884237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/>
            <a:r>
              <a:rPr lang="de-DE" sz="1100">
                <a:solidFill>
                  <a:srgbClr val="000000"/>
                </a:solidFill>
                <a:latin typeface="Helvetica" pitchFamily="34" charset="0"/>
              </a:rPr>
              <a:t>* DIN 5031-10</a:t>
            </a:r>
            <a:endParaRPr lang="ru-RU" sz="110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120842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227388" y="2379663"/>
            <a:ext cx="4918075" cy="1265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82563" lvl="1" indent="-180975">
              <a:lnSpc>
                <a:spcPct val="110000"/>
              </a:lnSpc>
              <a:spcBef>
                <a:spcPct val="30000"/>
              </a:spcBef>
              <a:buFont typeface="Arial" charset="0"/>
              <a:buChar char="•"/>
            </a:pPr>
            <a:r>
              <a:rPr lang="en-US" sz="1200" dirty="0" err="1">
                <a:solidFill>
                  <a:srgbClr val="000000"/>
                </a:solidFill>
              </a:rPr>
              <a:t>Использование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кривой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спектральной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чувствительности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растения</a:t>
            </a:r>
            <a:r>
              <a:rPr lang="en-US" sz="1200" dirty="0">
                <a:solidFill>
                  <a:srgbClr val="000000"/>
                </a:solidFill>
              </a:rPr>
              <a:t> в </a:t>
            </a:r>
            <a:r>
              <a:rPr lang="en-US" sz="1200" dirty="0" err="1">
                <a:solidFill>
                  <a:srgbClr val="000000"/>
                </a:solidFill>
              </a:rPr>
              <a:t>качестве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весовой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функции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для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спектра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излучения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источника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света</a:t>
            </a:r>
            <a:r>
              <a:rPr lang="en-US" sz="1200" dirty="0">
                <a:solidFill>
                  <a:srgbClr val="000000"/>
                </a:solidFill>
              </a:rPr>
              <a:t>.</a:t>
            </a:r>
          </a:p>
          <a:p>
            <a:pPr marL="182563" lvl="1" indent="-180975">
              <a:lnSpc>
                <a:spcPct val="110000"/>
              </a:lnSpc>
              <a:spcBef>
                <a:spcPct val="30000"/>
              </a:spcBef>
              <a:buFont typeface="Arial" charset="0"/>
              <a:buChar char="•"/>
            </a:pPr>
            <a:r>
              <a:rPr lang="en-US" sz="1200" dirty="0" err="1">
                <a:solidFill>
                  <a:srgbClr val="000000"/>
                </a:solidFill>
              </a:rPr>
              <a:t>Эта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кривая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получается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из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спектра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поглощения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хлорофилла</a:t>
            </a:r>
            <a:r>
              <a:rPr lang="en-US" sz="1200" dirty="0">
                <a:solidFill>
                  <a:srgbClr val="000000"/>
                </a:solidFill>
              </a:rPr>
              <a:t> с </a:t>
            </a:r>
            <a:r>
              <a:rPr lang="en-US" sz="1200" dirty="0" err="1">
                <a:solidFill>
                  <a:srgbClr val="000000"/>
                </a:solidFill>
              </a:rPr>
              <a:t>учетом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процессов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переноса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внутренней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энергии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растения</a:t>
            </a:r>
            <a:r>
              <a:rPr lang="en-US" sz="1200" dirty="0">
                <a:solidFill>
                  <a:srgbClr val="000000"/>
                </a:solidFill>
              </a:rPr>
              <a:t> и </a:t>
            </a:r>
            <a:r>
              <a:rPr lang="en-US" sz="1200" dirty="0" err="1">
                <a:solidFill>
                  <a:srgbClr val="000000"/>
                </a:solidFill>
              </a:rPr>
              <a:t>листьев</a:t>
            </a:r>
            <a:r>
              <a:rPr lang="en-US" sz="1200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120843" name="Rectangle 146"/>
          <p:cNvSpPr>
            <a:spLocks noChangeArrowheads="1"/>
          </p:cNvSpPr>
          <p:nvPr/>
        </p:nvSpPr>
        <p:spPr bwMode="gray">
          <a:xfrm>
            <a:off x="3097213" y="1928813"/>
            <a:ext cx="5048250" cy="322262"/>
          </a:xfrm>
          <a:prstGeom prst="rect">
            <a:avLst/>
          </a:prstGeom>
          <a:solidFill>
            <a:srgbClr val="FF6600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wrap="none" tIns="115189" bIns="115189" anchor="ctr"/>
          <a:lstStyle/>
          <a:p>
            <a:pPr algn="ctr" eaLnBrk="0" hangingPunct="0">
              <a:buSzPct val="115000"/>
              <a:buFont typeface="Symbol" pitchFamily="18" charset="2"/>
              <a:buNone/>
            </a:pPr>
            <a:r>
              <a:rPr lang="en-US" sz="1600" b="1">
                <a:solidFill>
                  <a:srgbClr val="FFFFFF"/>
                </a:solidFill>
              </a:rPr>
              <a:t>Более реалистичный подход</a:t>
            </a:r>
            <a:endParaRPr lang="ru-RU" sz="160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grpSp>
        <p:nvGrpSpPr>
          <p:cNvPr id="120844" name="Gruppieren 155"/>
          <p:cNvGrpSpPr>
            <a:grpSpLocks/>
          </p:cNvGrpSpPr>
          <p:nvPr/>
        </p:nvGrpSpPr>
        <p:grpSpPr bwMode="auto">
          <a:xfrm>
            <a:off x="3162300" y="3746500"/>
            <a:ext cx="2557463" cy="2216150"/>
            <a:chOff x="3357574" y="3870331"/>
            <a:chExt cx="2786062" cy="2369423"/>
          </a:xfrm>
        </p:grpSpPr>
        <p:pic>
          <p:nvPicPr>
            <p:cNvPr id="120847" name="Picture 145" descr="Bild:Chlorophyll spectrum.png">
              <a:hlinkClick r:id="rId8"/>
            </p:cNvPr>
            <p:cNvPicPr>
              <a:picLocks noChangeAspect="1" noChangeArrowheads="1"/>
            </p:cNvPicPr>
            <p:nvPr/>
          </p:nvPicPr>
          <p:blipFill>
            <a:blip r:embed="rId9" cstate="print"/>
            <a:srcRect l="4951" b="7230"/>
            <a:stretch>
              <a:fillRect/>
            </a:stretch>
          </p:blipFill>
          <p:spPr bwMode="auto">
            <a:xfrm>
              <a:off x="3643313" y="4286250"/>
              <a:ext cx="2193925" cy="1714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0848" name="Rectangle 146"/>
            <p:cNvSpPr>
              <a:spLocks noChangeArrowheads="1"/>
            </p:cNvSpPr>
            <p:nvPr/>
          </p:nvSpPr>
          <p:spPr bwMode="gray">
            <a:xfrm>
              <a:off x="3357574" y="3870331"/>
              <a:ext cx="2786062" cy="344487"/>
            </a:xfrm>
            <a:prstGeom prst="rect">
              <a:avLst/>
            </a:prstGeom>
            <a:noFill/>
            <a:ln w="28575" algn="ctr">
              <a:noFill/>
              <a:miter lim="800000"/>
              <a:headEnd/>
              <a:tailEnd/>
            </a:ln>
          </p:spPr>
          <p:txBody>
            <a:bodyPr wrap="none" tIns="115189" bIns="115189" anchor="ctr"/>
            <a:lstStyle/>
            <a:p>
              <a:pPr marL="182563" lvl="1" indent="-180975" algn="ctr" eaLnBrk="0" hangingPunct="0">
                <a:spcBef>
                  <a:spcPct val="30000"/>
                </a:spcBef>
                <a:buSzPct val="115000"/>
                <a:buFont typeface="Symbol" pitchFamily="18" charset="2"/>
                <a:buNone/>
              </a:pPr>
              <a:r>
                <a:rPr lang="en-US" sz="1200" b="1">
                  <a:solidFill>
                    <a:srgbClr val="000000"/>
                  </a:solidFill>
                </a:rPr>
                <a:t>Спектр поглощения хлорофилла</a:t>
              </a:r>
            </a:p>
          </p:txBody>
        </p:sp>
        <p:sp>
          <p:nvSpPr>
            <p:cNvPr id="120849" name="Rectangle 148"/>
            <p:cNvSpPr>
              <a:spLocks noChangeArrowheads="1"/>
            </p:cNvSpPr>
            <p:nvPr/>
          </p:nvSpPr>
          <p:spPr bwMode="auto">
            <a:xfrm rot="-5400000">
              <a:off x="3085263" y="5115292"/>
              <a:ext cx="921631" cy="1833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de-DE" sz="1100" b="1">
                  <a:solidFill>
                    <a:srgbClr val="000000"/>
                  </a:solidFill>
                  <a:latin typeface="Helvetica" pitchFamily="34" charset="0"/>
                </a:rPr>
                <a:t>Поглощение</a:t>
              </a:r>
              <a:endParaRPr lang="ru-RU" sz="1100" b="1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20850" name="Rectangle 11"/>
            <p:cNvSpPr>
              <a:spLocks noChangeArrowheads="1"/>
            </p:cNvSpPr>
            <p:nvPr/>
          </p:nvSpPr>
          <p:spPr bwMode="auto">
            <a:xfrm>
              <a:off x="4049334" y="6059841"/>
              <a:ext cx="1309155" cy="1799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eaLnBrk="0" hangingPunct="0"/>
              <a:r>
                <a:rPr lang="de-DE" sz="1100" b="1">
                  <a:solidFill>
                    <a:srgbClr val="000000"/>
                  </a:solidFill>
                  <a:latin typeface="Helvetica" pitchFamily="34" charset="0"/>
                </a:rPr>
                <a:t>Длина волны, нм</a:t>
              </a:r>
              <a:endParaRPr lang="ru-RU" sz="1100" b="1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</p:grpSp>
      <p:sp>
        <p:nvSpPr>
          <p:cNvPr id="120845" name="Rectangle 146"/>
          <p:cNvSpPr>
            <a:spLocks noChangeArrowheads="1"/>
          </p:cNvSpPr>
          <p:nvPr/>
        </p:nvSpPr>
        <p:spPr bwMode="gray">
          <a:xfrm>
            <a:off x="539750" y="1928813"/>
            <a:ext cx="2490788" cy="322262"/>
          </a:xfrm>
          <a:prstGeom prst="rect">
            <a:avLst/>
          </a:prstGeom>
          <a:solidFill>
            <a:srgbClr val="FF6600"/>
          </a:soli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wrap="none" tIns="115189" bIns="115189" anchor="ctr"/>
          <a:lstStyle/>
          <a:p>
            <a:pPr algn="ctr" eaLnBrk="0" hangingPunct="0">
              <a:buSzPct val="115000"/>
              <a:buFont typeface="Symbol" pitchFamily="18" charset="2"/>
              <a:buNone/>
            </a:pPr>
            <a:r>
              <a:rPr lang="en-US" sz="1600" b="1">
                <a:solidFill>
                  <a:srgbClr val="FFFFFF"/>
                </a:solidFill>
              </a:rPr>
              <a:t>Ситуация сегодня </a:t>
            </a:r>
          </a:p>
        </p:txBody>
      </p:sp>
      <p:cxnSp>
        <p:nvCxnSpPr>
          <p:cNvPr id="120846" name="Gerade Verbindung 149"/>
          <p:cNvCxnSpPr>
            <a:cxnSpLocks noChangeShapeType="1"/>
          </p:cNvCxnSpPr>
          <p:nvPr/>
        </p:nvCxnSpPr>
        <p:spPr bwMode="auto">
          <a:xfrm rot="5400000">
            <a:off x="981869" y="4001294"/>
            <a:ext cx="4144962" cy="0"/>
          </a:xfrm>
          <a:prstGeom prst="line">
            <a:avLst/>
          </a:prstGeom>
          <a:noFill/>
          <a:ln w="25400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120983" name="Text Box 151"/>
          <p:cNvSpPr txBox="1">
            <a:spLocks noChangeArrowheads="1"/>
          </p:cNvSpPr>
          <p:nvPr/>
        </p:nvSpPr>
        <p:spPr bwMode="auto">
          <a:xfrm>
            <a:off x="4500563" y="4221163"/>
            <a:ext cx="576262" cy="15875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36000">
            <a:spAutoFit/>
          </a:bodyPr>
          <a:lstStyle/>
          <a:p>
            <a:pPr>
              <a:lnSpc>
                <a:spcPct val="115000"/>
              </a:lnSpc>
              <a:spcBef>
                <a:spcPct val="50000"/>
              </a:spcBef>
            </a:pPr>
            <a:r>
              <a:rPr lang="ru-RU" sz="700"/>
              <a:t>Хлорофилл </a:t>
            </a:r>
            <a:r>
              <a:rPr lang="en-US" sz="700"/>
              <a:t>a</a:t>
            </a:r>
            <a:endParaRPr lang="ru-RU" sz="700"/>
          </a:p>
        </p:txBody>
      </p:sp>
      <p:sp>
        <p:nvSpPr>
          <p:cNvPr id="120984" name="Text Box 152"/>
          <p:cNvSpPr txBox="1">
            <a:spLocks noChangeArrowheads="1"/>
          </p:cNvSpPr>
          <p:nvPr/>
        </p:nvSpPr>
        <p:spPr bwMode="auto">
          <a:xfrm>
            <a:off x="4211638" y="4581525"/>
            <a:ext cx="576262" cy="15875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36000">
            <a:spAutoFit/>
          </a:bodyPr>
          <a:lstStyle/>
          <a:p>
            <a:pPr>
              <a:lnSpc>
                <a:spcPct val="115000"/>
              </a:lnSpc>
              <a:spcBef>
                <a:spcPct val="50000"/>
              </a:spcBef>
            </a:pPr>
            <a:r>
              <a:rPr lang="ru-RU" sz="700"/>
              <a:t>Хлорофилл </a:t>
            </a:r>
            <a:r>
              <a:rPr lang="en-US" sz="700"/>
              <a:t>b</a:t>
            </a:r>
            <a:endParaRPr lang="ru-RU" sz="700"/>
          </a:p>
        </p:txBody>
      </p:sp>
      <p:sp>
        <p:nvSpPr>
          <p:cNvPr id="120985" name="Text Box 153"/>
          <p:cNvSpPr txBox="1">
            <a:spLocks noChangeArrowheads="1"/>
          </p:cNvSpPr>
          <p:nvPr/>
        </p:nvSpPr>
        <p:spPr bwMode="auto">
          <a:xfrm>
            <a:off x="3635375" y="4221163"/>
            <a:ext cx="576263" cy="15875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36000">
            <a:spAutoFit/>
          </a:bodyPr>
          <a:lstStyle/>
          <a:p>
            <a:pPr>
              <a:lnSpc>
                <a:spcPct val="115000"/>
              </a:lnSpc>
              <a:spcBef>
                <a:spcPct val="50000"/>
              </a:spcBef>
            </a:pPr>
            <a:r>
              <a:rPr lang="ru-RU" sz="700"/>
              <a:t>Пол. Соре</a:t>
            </a:r>
          </a:p>
        </p:txBody>
      </p:sp>
      <p:sp>
        <p:nvSpPr>
          <p:cNvPr id="120986" name="Text Box 154"/>
          <p:cNvSpPr txBox="1">
            <a:spLocks noChangeArrowheads="1"/>
          </p:cNvSpPr>
          <p:nvPr/>
        </p:nvSpPr>
        <p:spPr bwMode="auto">
          <a:xfrm>
            <a:off x="3348038" y="4437063"/>
            <a:ext cx="431800" cy="15875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36000">
            <a:spAutoFit/>
          </a:bodyPr>
          <a:lstStyle/>
          <a:p>
            <a:pPr>
              <a:lnSpc>
                <a:spcPct val="115000"/>
              </a:lnSpc>
              <a:spcBef>
                <a:spcPct val="50000"/>
              </a:spcBef>
            </a:pPr>
            <a:r>
              <a:rPr lang="ru-RU" sz="700"/>
              <a:t>Пол. Соре</a:t>
            </a:r>
          </a:p>
        </p:txBody>
      </p:sp>
      <p:pic>
        <p:nvPicPr>
          <p:cNvPr id="153" name="Рисунок 152">
            <a:hlinkClick r:id="rId10"/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453336"/>
            <a:ext cx="2526984" cy="298413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1857" name="Gruppieren 37"/>
          <p:cNvGrpSpPr>
            <a:grpSpLocks/>
          </p:cNvGrpSpPr>
          <p:nvPr/>
        </p:nvGrpSpPr>
        <p:grpSpPr bwMode="auto">
          <a:xfrm>
            <a:off x="395288" y="1484313"/>
            <a:ext cx="8064500" cy="4752975"/>
            <a:chOff x="395536" y="1988840"/>
            <a:chExt cx="8064896" cy="4248472"/>
          </a:xfrm>
        </p:grpSpPr>
        <p:pic>
          <p:nvPicPr>
            <p:cNvPr id="121866" name="Picture 4"/>
            <p:cNvPicPr>
              <a:picLocks noChangeAspect="1" noChangeArrowheads="1"/>
            </p:cNvPicPr>
            <p:nvPr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395536" y="1988840"/>
              <a:ext cx="8064896" cy="42484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121867" name="Gerade Verbindung mit Pfeil 16"/>
            <p:cNvCxnSpPr>
              <a:cxnSpLocks noChangeShapeType="1"/>
            </p:cNvCxnSpPr>
            <p:nvPr/>
          </p:nvCxnSpPr>
          <p:spPr bwMode="auto">
            <a:xfrm>
              <a:off x="5580112" y="2304653"/>
              <a:ext cx="1538" cy="3212579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 type="oval" w="med" len="med"/>
              <a:tailEnd type="triangle" w="med" len="med"/>
            </a:ln>
          </p:spPr>
        </p:cxnSp>
        <p:cxnSp>
          <p:nvCxnSpPr>
            <p:cNvPr id="121868" name="Gerade Verbindung mit Pfeil 22"/>
            <p:cNvCxnSpPr>
              <a:cxnSpLocks noChangeShapeType="1"/>
            </p:cNvCxnSpPr>
            <p:nvPr/>
          </p:nvCxnSpPr>
          <p:spPr bwMode="auto">
            <a:xfrm>
              <a:off x="5293618" y="4441701"/>
              <a:ext cx="0" cy="1075531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prstDash val="sysDash"/>
              <a:round/>
              <a:headEnd type="oval" w="med" len="med"/>
              <a:tailEnd type="triangle" w="med" len="med"/>
            </a:ln>
          </p:spPr>
        </p:cxnSp>
        <p:cxnSp>
          <p:nvCxnSpPr>
            <p:cNvPr id="121869" name="Gerade Verbindung mit Pfeil 25"/>
            <p:cNvCxnSpPr>
              <a:cxnSpLocks noChangeShapeType="1"/>
            </p:cNvCxnSpPr>
            <p:nvPr/>
          </p:nvCxnSpPr>
          <p:spPr bwMode="auto">
            <a:xfrm>
              <a:off x="5508104" y="2654176"/>
              <a:ext cx="0" cy="2863056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prstDash val="dashDot"/>
              <a:round/>
              <a:headEnd type="oval" w="med" len="med"/>
              <a:tailEnd type="triangle" w="med" len="med"/>
            </a:ln>
          </p:spPr>
        </p:cxnSp>
      </p:grpSp>
      <p:sp>
        <p:nvSpPr>
          <p:cNvPr id="121858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дин спектр, три различных определения длины волны</a:t>
            </a:r>
          </a:p>
        </p:txBody>
      </p:sp>
      <p:sp>
        <p:nvSpPr>
          <p:cNvPr id="121859" name="Inhaltsplatzhalter 2"/>
          <p:cNvSpPr>
            <a:spLocks noGrp="1"/>
          </p:cNvSpPr>
          <p:nvPr>
            <p:ph idx="1"/>
          </p:nvPr>
        </p:nvSpPr>
        <p:spPr>
          <a:xfrm>
            <a:off x="1116013" y="1628775"/>
            <a:ext cx="3744912" cy="2087563"/>
          </a:xfrm>
        </p:spPr>
        <p:txBody>
          <a:bodyPr/>
          <a:lstStyle/>
          <a:p>
            <a:pPr marL="0" indent="0"/>
            <a:r>
              <a:rPr lang="en-US" sz="1200" smtClean="0">
                <a:sym typeface="Symbol" pitchFamily="18" charset="2"/>
              </a:rPr>
              <a:t></a:t>
            </a:r>
            <a:r>
              <a:rPr lang="en-US" sz="1200" baseline="-25000" smtClean="0">
                <a:sym typeface="Symbol" pitchFamily="18" charset="2"/>
              </a:rPr>
              <a:t>peak</a:t>
            </a:r>
            <a:r>
              <a:rPr lang="en-US" sz="1200" smtClean="0">
                <a:sym typeface="Symbol" pitchFamily="18" charset="2"/>
              </a:rPr>
              <a:t> — пиковая длина волны (например, 661 нм)</a:t>
            </a:r>
            <a:endParaRPr lang="ru-RU" sz="1200" baseline="-25000" smtClean="0">
              <a:sym typeface="Symbol" pitchFamily="18" charset="2"/>
            </a:endParaRPr>
          </a:p>
          <a:p>
            <a:pPr marL="0" indent="0"/>
            <a:r>
              <a:rPr lang="en-US" sz="1200" b="0" smtClean="0">
                <a:solidFill>
                  <a:schemeClr val="tx1"/>
                </a:solidFill>
              </a:rPr>
              <a:t>Длина волны спектра, на которой наблюдается максимум силы излучения источника света.</a:t>
            </a:r>
            <a:endParaRPr lang="ru-RU" sz="1200" baseline="-25000" smtClean="0">
              <a:solidFill>
                <a:schemeClr val="tx1"/>
              </a:solidFill>
              <a:sym typeface="Symbol" pitchFamily="18" charset="2"/>
            </a:endParaRPr>
          </a:p>
          <a:p>
            <a:pPr marL="0" indent="0"/>
            <a:endParaRPr lang="ru-RU" sz="900" smtClean="0">
              <a:sym typeface="Symbol" pitchFamily="18" charset="2"/>
            </a:endParaRPr>
          </a:p>
          <a:p>
            <a:pPr marL="0" indent="0"/>
            <a:r>
              <a:rPr lang="en-US" sz="1200" smtClean="0">
                <a:sym typeface="Symbol" pitchFamily="18" charset="2"/>
              </a:rPr>
              <a:t></a:t>
            </a:r>
            <a:r>
              <a:rPr lang="en-US" sz="1200" baseline="-25000" smtClean="0">
                <a:sym typeface="Symbol" pitchFamily="18" charset="2"/>
              </a:rPr>
              <a:t>cent</a:t>
            </a:r>
            <a:r>
              <a:rPr lang="en-US" sz="1200" smtClean="0">
                <a:sym typeface="Symbol" pitchFamily="18" charset="2"/>
              </a:rPr>
              <a:t> — центроидная длина волны (например, 660 нм)</a:t>
            </a:r>
          </a:p>
          <a:p>
            <a:pPr marL="0" indent="0"/>
            <a:r>
              <a:rPr lang="en-US" sz="1200" b="0" smtClean="0">
                <a:solidFill>
                  <a:schemeClr val="tx1"/>
                </a:solidFill>
                <a:sym typeface="Symbol" pitchFamily="18" charset="2"/>
              </a:rPr>
              <a:t>Длина волны, которая делит пополам площадь под спектральной кривой.</a:t>
            </a:r>
          </a:p>
          <a:p>
            <a:pPr marL="0" indent="0"/>
            <a:endParaRPr lang="ru-RU" sz="900" smtClean="0">
              <a:sym typeface="Symbol" pitchFamily="18" charset="2"/>
            </a:endParaRPr>
          </a:p>
          <a:p>
            <a:pPr marL="0" indent="0"/>
            <a:r>
              <a:rPr lang="en-US" sz="1200" smtClean="0">
                <a:sym typeface="Symbol" pitchFamily="18" charset="2"/>
              </a:rPr>
              <a:t></a:t>
            </a:r>
            <a:r>
              <a:rPr lang="en-US" sz="1200" baseline="-25000" smtClean="0">
                <a:sym typeface="Symbol" pitchFamily="18" charset="2"/>
              </a:rPr>
              <a:t>dom</a:t>
            </a:r>
            <a:r>
              <a:rPr lang="en-US" sz="1200" smtClean="0">
                <a:sym typeface="Symbol" pitchFamily="18" charset="2"/>
              </a:rPr>
              <a:t> — преобладающая длина волны (например, 640 нм)</a:t>
            </a:r>
            <a:endParaRPr lang="ru-RU" sz="1200" baseline="-25000" smtClean="0">
              <a:sym typeface="Symbol" pitchFamily="18" charset="2"/>
            </a:endParaRPr>
          </a:p>
          <a:p>
            <a:pPr marL="0" indent="0"/>
            <a:r>
              <a:rPr lang="en-US" sz="1200" b="0" smtClean="0">
                <a:solidFill>
                  <a:schemeClr val="tx1"/>
                </a:solidFill>
              </a:rPr>
              <a:t>Длина волны монохроматического светового стимула, которая при аддитивном смешивании в надлежащих пропорциях с заданным ахроматическим стимулом соответствует рассматриваемому цветовому стимулу. Точка, в которой линия равных нергий (0,333 / 0,333), проведенная через цветовую координату спектра, касается стороны цветового треугольника.</a:t>
            </a:r>
            <a:endParaRPr lang="ru-RU" sz="1200" smtClean="0">
              <a:sym typeface="Symbol" pitchFamily="18" charset="2"/>
            </a:endParaRPr>
          </a:p>
          <a:p>
            <a:pPr marL="0" indent="0"/>
            <a:endParaRPr lang="ru-RU" sz="1200" smtClean="0">
              <a:sym typeface="Symbol" pitchFamily="18" charset="2"/>
            </a:endParaRPr>
          </a:p>
          <a:p>
            <a:pPr marL="0" indent="0"/>
            <a:endParaRPr lang="ru-RU" sz="1200" baseline="-25000" smtClean="0">
              <a:sym typeface="Symbol" pitchFamily="18" charset="2"/>
            </a:endParaRPr>
          </a:p>
          <a:p>
            <a:pPr marL="0" indent="0"/>
            <a:endParaRPr lang="ru-RU" sz="1200" baseline="-25000" smtClean="0"/>
          </a:p>
        </p:txBody>
      </p:sp>
      <p:grpSp>
        <p:nvGrpSpPr>
          <p:cNvPr id="121860" name="Gruppieren 12"/>
          <p:cNvGrpSpPr>
            <a:grpSpLocks/>
          </p:cNvGrpSpPr>
          <p:nvPr/>
        </p:nvGrpSpPr>
        <p:grpSpPr bwMode="auto">
          <a:xfrm>
            <a:off x="6588125" y="2997200"/>
            <a:ext cx="2016125" cy="2016125"/>
            <a:chOff x="6732238" y="3439537"/>
            <a:chExt cx="1938754" cy="1907540"/>
          </a:xfrm>
        </p:grpSpPr>
        <p:pic>
          <p:nvPicPr>
            <p:cNvPr id="121864" name="Picture 3"/>
            <p:cNvPicPr>
              <a:picLocks noChangeAspect="1" noChangeArrowheads="1"/>
            </p:cNvPicPr>
            <p:nvPr/>
          </p:nvPicPr>
          <p:blipFill>
            <a:blip r:embed="rId3" cstate="print"/>
            <a:srcRect r="-1263"/>
            <a:stretch>
              <a:fillRect/>
            </a:stretch>
          </p:blipFill>
          <p:spPr bwMode="auto">
            <a:xfrm>
              <a:off x="6732238" y="3439537"/>
              <a:ext cx="1938754" cy="19075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121865" name="Gerade Verbindung mit Pfeil 9"/>
            <p:cNvCxnSpPr>
              <a:cxnSpLocks noChangeShapeType="1"/>
            </p:cNvCxnSpPr>
            <p:nvPr/>
          </p:nvCxnSpPr>
          <p:spPr bwMode="auto">
            <a:xfrm>
              <a:off x="6899807" y="4183900"/>
              <a:ext cx="984473" cy="172416"/>
            </a:xfrm>
            <a:prstGeom prst="straightConnector1">
              <a:avLst/>
            </a:prstGeom>
            <a:noFill/>
            <a:ln w="9525" algn="ctr">
              <a:solidFill>
                <a:schemeClr val="tx1"/>
              </a:solidFill>
              <a:prstDash val="dash"/>
              <a:round/>
              <a:headEnd/>
              <a:tailEnd type="arrow" w="med" len="med"/>
            </a:ln>
          </p:spPr>
        </p:cxnSp>
      </p:grpSp>
      <p:cxnSp>
        <p:nvCxnSpPr>
          <p:cNvPr id="121861" name="Gerade Verbindung mit Pfeil 29"/>
          <p:cNvCxnSpPr>
            <a:cxnSpLocks noChangeShapeType="1"/>
          </p:cNvCxnSpPr>
          <p:nvPr/>
        </p:nvCxnSpPr>
        <p:spPr bwMode="auto">
          <a:xfrm>
            <a:off x="4356100" y="3933825"/>
            <a:ext cx="576263" cy="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prstDash val="sysDash"/>
            <a:round/>
            <a:headEnd type="oval" w="med" len="med"/>
            <a:tailEnd type="triangle" w="med" len="med"/>
          </a:ln>
        </p:spPr>
      </p:cxnSp>
      <p:cxnSp>
        <p:nvCxnSpPr>
          <p:cNvPr id="121862" name="Gerade Verbindung mit Pfeil 31"/>
          <p:cNvCxnSpPr>
            <a:cxnSpLocks noChangeShapeType="1"/>
          </p:cNvCxnSpPr>
          <p:nvPr/>
        </p:nvCxnSpPr>
        <p:spPr bwMode="auto">
          <a:xfrm>
            <a:off x="4787900" y="2708275"/>
            <a:ext cx="504825" cy="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prstDash val="dashDot"/>
            <a:round/>
            <a:headEnd type="oval" w="med" len="med"/>
            <a:tailEnd type="triangle" w="med" len="med"/>
          </a:ln>
        </p:spPr>
      </p:cxnSp>
      <p:cxnSp>
        <p:nvCxnSpPr>
          <p:cNvPr id="121863" name="Gerade Verbindung mit Pfeil 33"/>
          <p:cNvCxnSpPr>
            <a:cxnSpLocks noChangeShapeType="1"/>
          </p:cNvCxnSpPr>
          <p:nvPr/>
        </p:nvCxnSpPr>
        <p:spPr bwMode="auto">
          <a:xfrm>
            <a:off x="5076825" y="1844675"/>
            <a:ext cx="503238" cy="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round/>
            <a:headEnd type="oval" w="med" len="med"/>
            <a:tailEnd type="triangle" w="med" len="med"/>
          </a:ln>
        </p:spPr>
      </p:cxnSp>
      <p:sp>
        <p:nvSpPr>
          <p:cNvPr id="121871" name="Text Box 15"/>
          <p:cNvSpPr txBox="1">
            <a:spLocks noChangeArrowheads="1"/>
          </p:cNvSpPr>
          <p:nvPr/>
        </p:nvSpPr>
        <p:spPr bwMode="auto">
          <a:xfrm>
            <a:off x="3708400" y="5876925"/>
            <a:ext cx="1871663" cy="3175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36000">
            <a:spAutoFit/>
          </a:bodyPr>
          <a:lstStyle/>
          <a:p>
            <a:pPr algn="ctr">
              <a:lnSpc>
                <a:spcPct val="115000"/>
              </a:lnSpc>
              <a:spcBef>
                <a:spcPct val="50000"/>
              </a:spcBef>
            </a:pPr>
            <a:r>
              <a:rPr lang="ru-RU" sz="1600"/>
              <a:t>Длина волны, нм</a:t>
            </a:r>
          </a:p>
        </p:txBody>
      </p:sp>
      <p:sp>
        <p:nvSpPr>
          <p:cNvPr id="121872" name="Text Box 16"/>
          <p:cNvSpPr txBox="1">
            <a:spLocks noChangeArrowheads="1"/>
          </p:cNvSpPr>
          <p:nvPr/>
        </p:nvSpPr>
        <p:spPr bwMode="auto">
          <a:xfrm rot="16200000">
            <a:off x="-757238" y="3432176"/>
            <a:ext cx="2771775" cy="3175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36000">
            <a:spAutoFit/>
          </a:bodyPr>
          <a:lstStyle/>
          <a:p>
            <a:pPr algn="ctr">
              <a:lnSpc>
                <a:spcPct val="115000"/>
              </a:lnSpc>
              <a:spcBef>
                <a:spcPct val="50000"/>
              </a:spcBef>
            </a:pPr>
            <a:r>
              <a:rPr lang="ru-RU" sz="1600"/>
              <a:t>Плотность мощности, Вт/нм</a:t>
            </a:r>
          </a:p>
        </p:txBody>
      </p:sp>
      <p:pic>
        <p:nvPicPr>
          <p:cNvPr id="18" name="Рисунок 17">
            <a:hlinkClick r:id="rId4"/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453336"/>
            <a:ext cx="2526984" cy="29841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81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Каковы типичные значения плотности светового потока для растениеводческого освещения?</a:t>
            </a:r>
          </a:p>
        </p:txBody>
      </p:sp>
      <p:graphicFrame>
        <p:nvGraphicFramePr>
          <p:cNvPr id="7" name="Tabelle 6"/>
          <p:cNvGraphicFramePr>
            <a:graphicFrameLocks noGrp="1"/>
          </p:cNvGraphicFramePr>
          <p:nvPr/>
        </p:nvGraphicFramePr>
        <p:xfrm>
          <a:off x="4643438" y="1412875"/>
          <a:ext cx="3961580" cy="30399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57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196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5169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6451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22101">
                <a:tc gridSpan="4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latin typeface="Arial" pitchFamily="34" charset="0"/>
                        </a:rPr>
                        <a:t>Плотность светового потока для срезанных цветов</a:t>
                      </a:r>
                      <a:endParaRPr lang="ru-RU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6614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1" i="0" u="none" strike="noStrike" dirty="0" smtClean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Растение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1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мин., мкмоль/м²с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1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макс., мкмоль/м²с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1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тип., мкмоль/м²с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6614">
                <a:tc>
                  <a:txBody>
                    <a:bodyPr/>
                    <a:lstStyle/>
                    <a:p>
                      <a:pPr algn="ctr" rtl="0" fontAlgn="b"/>
                      <a:r>
                        <a:rPr lang="de-DE" sz="1200" b="0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Хризантема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10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13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117,5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6614">
                <a:tc>
                  <a:txBody>
                    <a:bodyPr/>
                    <a:lstStyle/>
                    <a:p>
                      <a:pPr algn="ctr" rtl="0" fontAlgn="b"/>
                      <a:r>
                        <a:rPr lang="de-DE" sz="1200" b="0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Роза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17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20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185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6614">
                <a:tc>
                  <a:txBody>
                    <a:bodyPr/>
                    <a:lstStyle/>
                    <a:p>
                      <a:pPr algn="ctr" rtl="0" fontAlgn="b"/>
                      <a:r>
                        <a:rPr lang="de-DE" sz="1200" b="0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Лилия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8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10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90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6614">
                <a:tc>
                  <a:txBody>
                    <a:bodyPr/>
                    <a:lstStyle/>
                    <a:p>
                      <a:pPr algn="ctr" rtl="0" fontAlgn="b"/>
                      <a:r>
                        <a:rPr lang="de-DE" sz="1200" b="0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Лизиантус</a:t>
                      </a:r>
                      <a:r>
                        <a:t>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17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20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185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6614">
                <a:tc>
                  <a:txBody>
                    <a:bodyPr/>
                    <a:lstStyle/>
                    <a:p>
                      <a:pPr algn="ctr" rtl="0" fontAlgn="b"/>
                      <a:r>
                        <a:rPr lang="de-DE" sz="1200" b="0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Альстремерия</a:t>
                      </a:r>
                      <a:r>
                        <a:t>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6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10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82,5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6614">
                <a:tc>
                  <a:txBody>
                    <a:bodyPr/>
                    <a:lstStyle/>
                    <a:p>
                      <a:pPr algn="ctr" rtl="0" fontAlgn="b"/>
                      <a:r>
                        <a:rPr lang="de-DE" sz="1200" b="0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Антуриум / орхидея (срезанная)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8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10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92,5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6614">
                <a:tc>
                  <a:txBody>
                    <a:bodyPr/>
                    <a:lstStyle/>
                    <a:p>
                      <a:pPr algn="ctr" rtl="0" fontAlgn="b"/>
                      <a:r>
                        <a:rPr lang="de-DE" sz="1200" b="0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Фрезия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7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10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87,5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6614">
                <a:tc>
                  <a:txBody>
                    <a:bodyPr/>
                    <a:lstStyle/>
                    <a:p>
                      <a:pPr algn="ctr" rtl="0" fontAlgn="b"/>
                      <a:r>
                        <a:rPr lang="de-DE" sz="1200" b="0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Гербера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8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10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92,5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6614">
                <a:tc>
                  <a:txBody>
                    <a:bodyPr/>
                    <a:lstStyle/>
                    <a:p>
                      <a:pPr algn="ctr" rtl="0" fontAlgn="b"/>
                      <a:r>
                        <a:rPr lang="de-DE" sz="1200" b="0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Тюльпан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2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4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200" b="0" i="0" u="none" strike="noStrik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32,5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123037" name="Group 157"/>
          <p:cNvGraphicFramePr>
            <a:graphicFrameLocks noGrp="1"/>
          </p:cNvGraphicFramePr>
          <p:nvPr/>
        </p:nvGraphicFramePr>
        <p:xfrm>
          <a:off x="539750" y="2708275"/>
          <a:ext cx="3960813" cy="3406777"/>
        </p:xfrm>
        <a:graphic>
          <a:graphicData uri="http://schemas.openxmlformats.org/drawingml/2006/table">
            <a:tbl>
              <a:tblPr/>
              <a:tblGrid>
                <a:gridCol w="15113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366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921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2073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57200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лотность светового потока для растений в горшочках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927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Растение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мин., мкмоль/м²с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макс., мкмоль/м²с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тип., мкмоль/м²с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732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Орхидея / фаленопсис</a:t>
                      </a: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80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30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05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732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Дендробиум 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30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60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95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5738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Бромелия 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40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60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50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732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Антуриум 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60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80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70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5738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Каланхоэ 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60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05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82,5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6713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Хризантема в горшочке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40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60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50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5738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Роза в горшочке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40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60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50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732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Герань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40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60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50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732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Орхидея / фаленопсис</a:t>
                      </a:r>
                      <a:r>
                        <a:rPr kumimoji="0" lang="ru-RU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80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30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05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graphicFrame>
        <p:nvGraphicFramePr>
          <p:cNvPr id="123036" name="Group 156"/>
          <p:cNvGraphicFramePr>
            <a:graphicFrameLocks noGrp="1"/>
          </p:cNvGraphicFramePr>
          <p:nvPr/>
        </p:nvGraphicFramePr>
        <p:xfrm>
          <a:off x="539750" y="1412875"/>
          <a:ext cx="3960813" cy="1249998"/>
        </p:xfrm>
        <a:graphic>
          <a:graphicData uri="http://schemas.openxmlformats.org/drawingml/2006/table">
            <a:tbl>
              <a:tblPr/>
              <a:tblGrid>
                <a:gridCol w="11525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350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366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366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22263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лотность светового потока для овощей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732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Растение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мин.  мкмоль/м²с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макс.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мкмоль/м²с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тип.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мкмоль/м²с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732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Томат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7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85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732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ерец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7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3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732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Огурец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5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23029" name="Textfeld 10"/>
          <p:cNvSpPr txBox="1">
            <a:spLocks noChangeArrowheads="1"/>
          </p:cNvSpPr>
          <p:nvPr/>
        </p:nvSpPr>
        <p:spPr bwMode="auto">
          <a:xfrm>
            <a:off x="473075" y="6092825"/>
            <a:ext cx="3173413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000" b="1"/>
              <a:t>Источник: http://www.hortilux.nl/light-technology</a:t>
            </a:r>
          </a:p>
        </p:txBody>
      </p:sp>
      <p:pic>
        <p:nvPicPr>
          <p:cNvPr id="9" name="Рисунок 8">
            <a:hlinkClick r:id="rId2"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453336"/>
            <a:ext cx="2526984" cy="29841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05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Воздействие красного света с длиной волны около 660 нм на физиологию растений</a:t>
            </a:r>
          </a:p>
        </p:txBody>
      </p:sp>
      <p:graphicFrame>
        <p:nvGraphicFramePr>
          <p:cNvPr id="123957" name="Group 53"/>
          <p:cNvGraphicFramePr>
            <a:graphicFrameLocks noGrp="1"/>
          </p:cNvGraphicFramePr>
          <p:nvPr>
            <p:ph idx="1"/>
          </p:nvPr>
        </p:nvGraphicFramePr>
        <p:xfrm>
          <a:off x="539750" y="1412875"/>
          <a:ext cx="8064500" cy="4254183"/>
        </p:xfrm>
        <a:graphic>
          <a:graphicData uri="http://schemas.openxmlformats.org/drawingml/2006/table">
            <a:tbl>
              <a:tblPr/>
              <a:tblGrid>
                <a:gridCol w="23209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193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8761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366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174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Растение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Источник излучения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Воздействие на физиологию растения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Источник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381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Горчица сизая (</a:t>
                      </a:r>
                      <a:r>
                        <a:rPr kumimoji="0" lang="en-US" sz="9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Brassica</a:t>
                      </a: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en-US" sz="9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juncea L.)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, базилик (</a:t>
                      </a:r>
                      <a:r>
                        <a:rPr kumimoji="0" lang="en-US" sz="9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Ocimum</a:t>
                      </a:r>
                      <a:endParaRPr kumimoji="0" lang="ru-RU" sz="900" b="0" i="1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gratissimum L.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Красный (660 и 635 нм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иние светодиоды (460 нм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Задержка начала цветения по сравнению с комбинированным светодиодным освещением на длинах волн 460 и 635 нм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[38]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9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Капуста (</a:t>
                      </a:r>
                      <a:r>
                        <a:rPr kumimoji="0" lang="en-US" sz="9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Brassica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olearacea var. capitata L.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Красные светодиоды (660 нм) 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вышенное содержание антоцианов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[33]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19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алат-латук мелколистный (</a:t>
                      </a:r>
                      <a:r>
                        <a:rPr kumimoji="0" lang="en-US" sz="9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Lactuca sativa L. cv.  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Red Cross)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Красные светодиоды (658 нм)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вышение концентрации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фенольных соединений на 6 %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[7]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08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Томат (</a:t>
                      </a:r>
                      <a:r>
                        <a:rPr kumimoji="0" lang="en-US" sz="9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Lycopersicum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esculentum L. cv. 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MomotaroNatsumi)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Красные светодиоды (660 нм)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вышение урожайности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[39]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08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Кольраби (</a:t>
                      </a:r>
                      <a:r>
                        <a:rPr kumimoji="0" lang="en-US" sz="9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Brassica olearacea L. cv 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Winterbor)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Красные светодиоды (640 нм), предварительная обработка холодным белым светом люминесцентной лампы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вышенное накопление лютеина и хлорофилла a, b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[36]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969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Горчица белая (</a:t>
                      </a:r>
                      <a:r>
                        <a:rPr kumimoji="0" lang="en-US" sz="9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Sinapsis alba), 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шпинат (</a:t>
                      </a:r>
                      <a:r>
                        <a:rPr kumimoji="0" lang="en-US" sz="9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Spinacia</a:t>
                      </a:r>
                      <a:endParaRPr kumimoji="0" lang="ru-RU" sz="900" b="0" i="1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oleracea), 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лук зеленый (</a:t>
                      </a:r>
                      <a:r>
                        <a:rPr kumimoji="0" lang="en-US" sz="9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ium</a:t>
                      </a: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en-US" sz="9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cepa)</a:t>
                      </a:r>
                      <a:endParaRPr kumimoji="0" lang="ru-RU" sz="900" b="0" i="1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Красные светодиоды (638 нм) с натриевой лампой высокого давления — НЛВД (90 мкмоль•м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2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•с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1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), поддержание общей плотности фотосинтетического потока фотонов (ФПФ) на уровне 300 мкмоль•м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2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•с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1</a:t>
                      </a:r>
                      <a:endParaRPr kumimoji="0" lang="ru-RU" sz="900" b="0" i="0" u="none" strike="noStrike" cap="none" normalizeH="0" baseline="3000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вышенное содержание витамина C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[41]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968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алат-латук (</a:t>
                      </a:r>
                      <a:r>
                        <a:rPr kumimoji="0" lang="en-US" sz="9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Lactuca sativa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Лук зеленый (</a:t>
                      </a:r>
                      <a:r>
                        <a:rPr kumimoji="0" lang="en-US" sz="9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Allium</a:t>
                      </a: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en-US" sz="9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cepa L.)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Красные светодиоды (638 нм) и естественный свет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нижение содержания нитратов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[40]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23953" name="Textfeld 4"/>
          <p:cNvSpPr txBox="1">
            <a:spLocks noChangeArrowheads="1"/>
          </p:cNvSpPr>
          <p:nvPr/>
        </p:nvSpPr>
        <p:spPr bwMode="auto">
          <a:xfrm>
            <a:off x="539750" y="6021388"/>
            <a:ext cx="852488" cy="249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000" b="1"/>
              <a:t>Источник: [0]</a:t>
            </a:r>
          </a:p>
        </p:txBody>
      </p:sp>
      <p:pic>
        <p:nvPicPr>
          <p:cNvPr id="7" name="Рисунок 6">
            <a:hlinkClick r:id="rId2"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453336"/>
            <a:ext cx="2526984" cy="29841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929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Воздействие красного света с длиной волны около 660 нм на физиологию растений</a:t>
            </a:r>
          </a:p>
        </p:txBody>
      </p:sp>
      <p:graphicFrame>
        <p:nvGraphicFramePr>
          <p:cNvPr id="124969" name="Group 41"/>
          <p:cNvGraphicFramePr>
            <a:graphicFrameLocks noGrp="1"/>
          </p:cNvGraphicFramePr>
          <p:nvPr>
            <p:ph idx="1"/>
          </p:nvPr>
        </p:nvGraphicFramePr>
        <p:xfrm>
          <a:off x="539750" y="1412875"/>
          <a:ext cx="8064500" cy="3794760"/>
        </p:xfrm>
        <a:graphic>
          <a:graphicData uri="http://schemas.openxmlformats.org/drawingml/2006/table">
            <a:tbl>
              <a:tblPr/>
              <a:tblGrid>
                <a:gridCol w="23272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288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7173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366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857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Растение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Источник излучения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Воздействие на физиологию растения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Источник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810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алат-латук мелколистный (</a:t>
                      </a:r>
                      <a:r>
                        <a:rPr kumimoji="0" lang="en-US" sz="9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Lactuca sativa L.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Красные светодиоды (638 нм, 210 мкмоль•м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2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•с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1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) с НЛВД (300 мкмоль•м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2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•с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1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)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вышение общего содержания фенольных соединений (28,5 %), токоферолов (33,5 %) и сахаров (52,5 %), повышение антиоксидантной емкости (14,5 %),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нижение содержания витамина C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[42]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810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алат-латук листовой красный, зеленый и светло-зеленый (</a:t>
                      </a:r>
                      <a:r>
                        <a:rPr kumimoji="0" lang="en-US" sz="9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Lactuca sativa L.)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Красные светодиоды (638 нм, 300 мкмоль•м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2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•с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1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) с НЛВД (90 мкмоль•м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2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•с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1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)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вышение концентрации нитратов в светло-зеленом листовом салате-латуке (12,5 %), снижение концентрации нитратов в красном (56,2 %) и зеленом (20,0 %) листовом салате-латуке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[43]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33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алат-латук листовой зеленый сорта «лоло-бьондо» и листовой красный сорта «лола-роса» (</a:t>
                      </a:r>
                      <a:r>
                        <a:rPr kumimoji="0" lang="en-US" sz="9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Lactuca sativa L.)</a:t>
                      </a:r>
                      <a:endParaRPr kumimoji="0" lang="ru-RU" sz="900" b="0" i="1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Красные светодиоды (638 нм, 170 мкмоль•м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2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•с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1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) с НЛВД (130 мкмоль•м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2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•с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1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)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вышение общего содержания фенольных соединений и альфа-токоферолов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[44]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59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ерец стручковый (</a:t>
                      </a:r>
                      <a:r>
                        <a:rPr kumimoji="0" lang="en-US" sz="9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Capsicum annuum 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L.)</a:t>
                      </a:r>
                      <a:endParaRPr kumimoji="0" lang="ru-RU" sz="900" b="0" i="1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Красные (660 нм) и дальне-красные (735 нм) светодиоды, поддержание общей плотности ФПФ на уровне 300 мкмоль•м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2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•с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1</a:t>
                      </a:r>
                      <a:endParaRPr kumimoji="0" lang="ru-RU" sz="900" b="0" i="0" u="none" strike="noStrike" cap="none" normalizeH="0" baseline="3000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Добавление дальне-красного света привело к увеличению длины растения с повышением биомассы корня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[34]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33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алат-латук красный листовой сорта «аутерэджес» (</a:t>
                      </a:r>
                      <a:r>
                        <a:rPr kumimoji="0" lang="en-US" sz="9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Lactuca sativa L.)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Красные (640 нм, 300 мкмоль•м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2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•с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1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) и дальне-красные (730 нм, 20 мкмоль•м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2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•с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1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) светодиоды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вышение общей биомассы, снижение содержания антоцианов и антиоксидантной емкости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[30]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24967" name="Textfeld 5"/>
          <p:cNvSpPr txBox="1">
            <a:spLocks noChangeArrowheads="1"/>
          </p:cNvSpPr>
          <p:nvPr/>
        </p:nvSpPr>
        <p:spPr bwMode="auto">
          <a:xfrm>
            <a:off x="539750" y="6021388"/>
            <a:ext cx="852488" cy="249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000" b="1"/>
              <a:t>Источник: [0]</a:t>
            </a:r>
          </a:p>
        </p:txBody>
      </p:sp>
      <p:pic>
        <p:nvPicPr>
          <p:cNvPr id="6" name="Рисунок 5">
            <a:hlinkClick r:id="rId2"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453336"/>
            <a:ext cx="2526984" cy="29841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3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оздействие красного света с длиной волны около 660 нм на физиологию растений</a:t>
            </a:r>
          </a:p>
        </p:txBody>
      </p:sp>
      <p:graphicFrame>
        <p:nvGraphicFramePr>
          <p:cNvPr id="125978" name="Group 26"/>
          <p:cNvGraphicFramePr>
            <a:graphicFrameLocks noGrp="1"/>
          </p:cNvGraphicFramePr>
          <p:nvPr>
            <p:ph idx="1"/>
          </p:nvPr>
        </p:nvGraphicFramePr>
        <p:xfrm>
          <a:off x="539750" y="1412875"/>
          <a:ext cx="8064500" cy="1463040"/>
        </p:xfrm>
        <a:graphic>
          <a:graphicData uri="http://schemas.openxmlformats.org/drawingml/2006/table">
            <a:tbl>
              <a:tblPr/>
              <a:tblGrid>
                <a:gridCol w="23272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288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7173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366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857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Растение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Источник излучения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Воздействие на физиологию растения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Источник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95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алат-латук красный листовой сорта «аутерэджес»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(</a:t>
                      </a:r>
                      <a:r>
                        <a:rPr kumimoji="0" lang="en-US" sz="9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Lactuca sativa L.)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Красные (640 нм, 270 мкмоль•м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2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•с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1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) и синие (440 нм, 30 мкмоль•м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2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•с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1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) светодиоды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вышение содержания антоцианов, антиоксидантной емкости и общей площади листьев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[30]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33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аженцы томатов сорта «рейо»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Красный (660 нм) и синий (450 нм) свет в различных пропорциях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ильное преобладание синего света над красным (в пропорции 1:0) привело к уменьшению длины стебля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[16]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25976" name="Textfeld 5"/>
          <p:cNvSpPr txBox="1">
            <a:spLocks noChangeArrowheads="1"/>
          </p:cNvSpPr>
          <p:nvPr/>
        </p:nvSpPr>
        <p:spPr bwMode="auto">
          <a:xfrm>
            <a:off x="539750" y="6021388"/>
            <a:ext cx="852488" cy="249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000" b="1"/>
              <a:t>Источник: [0]</a:t>
            </a:r>
          </a:p>
        </p:txBody>
      </p:sp>
      <p:pic>
        <p:nvPicPr>
          <p:cNvPr id="6" name="Рисунок 5">
            <a:hlinkClick r:id="rId2"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453336"/>
            <a:ext cx="2526984" cy="29841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7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оздействие синего света с длиной волны около 450 нм на физиологию растений</a:t>
            </a:r>
          </a:p>
        </p:txBody>
      </p:sp>
      <p:graphicFrame>
        <p:nvGraphicFramePr>
          <p:cNvPr id="127022" name="Group 46"/>
          <p:cNvGraphicFramePr>
            <a:graphicFrameLocks noGrp="1"/>
          </p:cNvGraphicFramePr>
          <p:nvPr>
            <p:ph idx="1"/>
          </p:nvPr>
        </p:nvGraphicFramePr>
        <p:xfrm>
          <a:off x="539750" y="1412875"/>
          <a:ext cx="8064500" cy="4231641"/>
        </p:xfrm>
        <a:graphic>
          <a:graphicData uri="http://schemas.openxmlformats.org/drawingml/2006/table">
            <a:tbl>
              <a:tblPr/>
              <a:tblGrid>
                <a:gridCol w="23272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288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7173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366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032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Растение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Источник излучения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Воздействие на физиологию растения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Источник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801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аженцы томатов сорта «черри»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иние светодиоды в сочетании с красными и зелеными светодиодами, поддержание общей плотности ФПФ на уровне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300 мкмоль•м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2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•с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1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вышение общей эффективности фотосинтеза и поверхностной плотности устьиц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[39]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032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аженцы капусты (</a:t>
                      </a:r>
                      <a:r>
                        <a:rPr kumimoji="0" lang="en-US" sz="9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Brassica</a:t>
                      </a: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en-US" sz="9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olearacea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var. </a:t>
                      </a:r>
                      <a:r>
                        <a:rPr kumimoji="0" lang="en-US" sz="9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capitata L.)</a:t>
                      </a:r>
                      <a:endParaRPr kumimoji="0" lang="ru-RU" sz="900" b="0" i="1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Только синие светодиоды (470 нм, 50 мкмоль•м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2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•с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1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)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вышение содержания хлорофилла и удлинение черешков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[33]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429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Капуста китайская (</a:t>
                      </a:r>
                      <a:r>
                        <a:rPr kumimoji="0" lang="en-US" sz="9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Brassica camprestis 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L.)</a:t>
                      </a:r>
                      <a:endParaRPr kumimoji="0" lang="ru-RU" sz="900" b="0" i="1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иние (460 нм, 11 % от общей плотности потока) и красные (660 нм) светодиоды, поддержание общей плотности ФПФ на уровне 80 мкмоль•м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2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•с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1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вышение содержания витамина C и хлорофилла благодаря воздействию синего светодиодного излучения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[32]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81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алат-латук мелколистный сорта «ред кросс» (</a:t>
                      </a:r>
                      <a:r>
                        <a:rPr kumimoji="0" lang="en-US" sz="9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Lactuca sativa 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L.)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иние светодиоды (476 нм, 130 мкмоль•м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2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•с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1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)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вышение содержания антоцианов (31 %) и каротиноидов (12 %)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[7]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0801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Огурцы сорта «бодега» (</a:t>
                      </a:r>
                      <a:r>
                        <a:rPr kumimoji="0" lang="en-US" sz="9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Cucumis</a:t>
                      </a: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en-US" sz="9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sativus )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и томаты сорта «траст» (</a:t>
                      </a:r>
                      <a:r>
                        <a:rPr kumimoji="0" lang="en-US" sz="9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Lycopersicon</a:t>
                      </a: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en-US" sz="9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esculentum)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иние светодиоды (455 нм, 7–16 мкмоль•м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2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•с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1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) с НЛВД (400–520 мкмоль•м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2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•с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1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)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вышение биомассы с одновременным снижением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лодоносности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[45]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429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Рассада огурцов сорта «мэнди F1»</a:t>
                      </a:r>
                      <a:endParaRPr kumimoji="0" lang="ru-RU" sz="900" b="0" i="1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иние светодиоды (455 и 470 нм, 15 мкмоль•м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2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•с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1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) с НЛВД (90 мкмоль•м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2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•с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1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)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455 нм: замедление роста и развития; 470 нм: увеличение площади листьев, повышение свежей и сухой биомассы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[46]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27020" name="Textfeld 5"/>
          <p:cNvSpPr txBox="1">
            <a:spLocks noChangeArrowheads="1"/>
          </p:cNvSpPr>
          <p:nvPr/>
        </p:nvSpPr>
        <p:spPr bwMode="auto">
          <a:xfrm>
            <a:off x="539750" y="6021388"/>
            <a:ext cx="852488" cy="249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000" b="1"/>
              <a:t>Источник: [0]</a:t>
            </a:r>
          </a:p>
        </p:txBody>
      </p:sp>
      <p:pic>
        <p:nvPicPr>
          <p:cNvPr id="6" name="Рисунок 5">
            <a:hlinkClick r:id="rId2"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453336"/>
            <a:ext cx="2526984" cy="29841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зор</a:t>
            </a:r>
          </a:p>
        </p:txBody>
      </p:sp>
      <p:graphicFrame>
        <p:nvGraphicFramePr>
          <p:cNvPr id="101400" name="Group 24"/>
          <p:cNvGraphicFramePr>
            <a:graphicFrameLocks noGrp="1"/>
          </p:cNvGraphicFramePr>
          <p:nvPr/>
        </p:nvGraphicFramePr>
        <p:xfrm>
          <a:off x="539750" y="1255713"/>
          <a:ext cx="8064500" cy="2228760"/>
        </p:xfrm>
        <a:graphic>
          <a:graphicData uri="http://schemas.openxmlformats.org/drawingml/2006/table">
            <a:tbl>
              <a:tblPr/>
              <a:tblGrid>
                <a:gridCol w="3603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0564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77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587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72000" marB="7200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8788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72000" marB="7200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8788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тр.</a:t>
                      </a:r>
                    </a:p>
                  </a:txBody>
                  <a:tcPr marL="0" marR="0" marT="72000" marB="7200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8788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44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.</a:t>
                      </a:r>
                    </a:p>
                  </a:txBody>
                  <a:tcPr marL="0" marR="0" marT="72000" marB="72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788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788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Что такое растениеводческое освещение и как оно работает?</a:t>
                      </a:r>
                    </a:p>
                  </a:txBody>
                  <a:tcPr marL="0" marR="0" marT="72000" marB="72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788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788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00</a:t>
                      </a:r>
                    </a:p>
                  </a:txBody>
                  <a:tcPr marL="0" marR="0" marT="72000" marB="72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788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788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44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.</a:t>
                      </a:r>
                    </a:p>
                  </a:txBody>
                  <a:tcPr marL="0" marR="0" marT="72000" marB="72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788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788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римеры спектров</a:t>
                      </a:r>
                    </a:p>
                  </a:txBody>
                  <a:tcPr marL="0" marR="0" marT="72000" marB="72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788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788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00</a:t>
                      </a:r>
                    </a:p>
                  </a:txBody>
                  <a:tcPr marL="0" marR="0" marT="72000" marB="72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788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788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44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.</a:t>
                      </a:r>
                    </a:p>
                  </a:txBody>
                  <a:tcPr marL="0" marR="0" marT="72000" marB="72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788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788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родукты OSRAM OS и планы выпуска</a:t>
                      </a:r>
                    </a:p>
                  </a:txBody>
                  <a:tcPr marL="0" marR="0" marT="72000" marB="72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788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788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00</a:t>
                      </a:r>
                    </a:p>
                  </a:txBody>
                  <a:tcPr marL="0" marR="0" marT="72000" marB="72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788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788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44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4.</a:t>
                      </a:r>
                    </a:p>
                  </a:txBody>
                  <a:tcPr marL="0" marR="0" marT="72000" marB="72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788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788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писок</a:t>
                      </a: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en-US" sz="1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литературы</a:t>
                      </a:r>
                      <a:endParaRPr kumimoji="0" 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72000" marB="72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788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788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00</a:t>
                      </a:r>
                    </a:p>
                  </a:txBody>
                  <a:tcPr marL="0" marR="0" marT="72000" marB="72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788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788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6" name="Рисунок 5">
            <a:hlinkClick r:id="rId3"/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6096" y="188640"/>
            <a:ext cx="2526984" cy="298413"/>
          </a:xfrm>
          <a:prstGeom prst="rect">
            <a:avLst/>
          </a:prstGeom>
        </p:spPr>
      </p:pic>
      <p:pic>
        <p:nvPicPr>
          <p:cNvPr id="7" name="Рисунок 6">
            <a:hlinkClick r:id="rId3"/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453336"/>
            <a:ext cx="2526984" cy="29841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1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оздействие зеленого света с длиной волны около 520 нм на физиологию растений</a:t>
            </a:r>
          </a:p>
        </p:txBody>
      </p:sp>
      <p:graphicFrame>
        <p:nvGraphicFramePr>
          <p:cNvPr id="128041" name="Group 41"/>
          <p:cNvGraphicFramePr>
            <a:graphicFrameLocks noGrp="1"/>
          </p:cNvGraphicFramePr>
          <p:nvPr>
            <p:ph idx="1"/>
          </p:nvPr>
        </p:nvGraphicFramePr>
        <p:xfrm>
          <a:off x="539750" y="1412875"/>
          <a:ext cx="8064500" cy="4013836"/>
        </p:xfrm>
        <a:graphic>
          <a:graphicData uri="http://schemas.openxmlformats.org/drawingml/2006/table">
            <a:tbl>
              <a:tblPr/>
              <a:tblGrid>
                <a:gridCol w="23272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288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7173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366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857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Растение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Источник излучения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Воздействие на физиологию растения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Источник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95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алат-латук красный листовой (</a:t>
                      </a:r>
                      <a:r>
                        <a:rPr kumimoji="0" lang="en-US" sz="9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Lactuca sativa L. cv</a:t>
                      </a: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Banchu Red Fire)</a:t>
                      </a:r>
                      <a:endParaRPr kumimoji="0" lang="ru-RU" sz="900" b="0" i="1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Зеленые светодиоды с длинами волн излучения 510, 520, 530 нм и общей плотности ФПФ 100, 200 и 300 мкмоль•м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2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•с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1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соответственно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Зеленые светодиоды с высокой плотностью ФПФ (300 мкмоль•м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2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•с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1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) наиболее эффективно способствовали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росту растения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[37]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810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Рассада огурцов сорта «мэнди F1»</a:t>
                      </a:r>
                      <a:endParaRPr kumimoji="0" lang="ru-RU" sz="900" b="0" i="1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Зеленые светодиоды (505 и 530 нм, 15 мкмоль•м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2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•с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1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с НЛВД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(90 мкмоль•м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2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•с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1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)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505 и 530 нм: увеличение площади листьев, повышение свежей и сухой биомассы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[46]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810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алат-латук красный листовой (</a:t>
                      </a:r>
                      <a:r>
                        <a:rPr kumimoji="0" lang="en-US" sz="9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Lactuca sativa L. cv</a:t>
                      </a: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Banchu Red Fire)</a:t>
                      </a:r>
                      <a:endParaRPr kumimoji="0" lang="ru-RU" sz="900" b="0" i="1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Зеленые светодиоды с длинами волн излучения 510, 520, 530 нм и общей плотностью ФПФ 100, 200 и 300 мкмоль•м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2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•с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1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соответственно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Зеленые светодиоды с высокой плотностью ФПФ (300 мкмоль•м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2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•с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1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) наиболее эффективно способствовали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росту растения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[37]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33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Томаты сорта «магнус F1», перец стручковый сорта «рэда», огурцы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Зеленые светодиоды (505 и 530 нм, 15 мкмоль•м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2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•с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1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) с НЛВД (90 мкмоль•м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2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•с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1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)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530 нм: положительное влияние на развитие растения и накопление фотосинтетических пигментов (только огурцы); 505 нм: увеличение площади листьев, повышение свежей и сухой биомассы (помидоры и сладкий перец)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[47]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159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Рассада огурцов сорта «мэнди F1»</a:t>
                      </a:r>
                      <a:endParaRPr kumimoji="0" lang="ru-RU" sz="900" b="0" i="1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Зеленые светодиоды (505 и 530 нм, 15 мкмоль•м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2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•с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1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с НЛВД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(90 мкмоль•м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2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•с</a:t>
                      </a:r>
                      <a:r>
                        <a:rPr kumimoji="0" lang="en-US" sz="900" b="0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-1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)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505 и 530 нм: увеличение площади листьев, повышение свежей и сухой биомассы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[46]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28039" name="Textfeld 5"/>
          <p:cNvSpPr txBox="1">
            <a:spLocks noChangeArrowheads="1"/>
          </p:cNvSpPr>
          <p:nvPr/>
        </p:nvSpPr>
        <p:spPr bwMode="auto">
          <a:xfrm>
            <a:off x="539750" y="6021388"/>
            <a:ext cx="852488" cy="249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000" b="1"/>
              <a:t>Источник: [0]</a:t>
            </a:r>
          </a:p>
        </p:txBody>
      </p:sp>
      <p:pic>
        <p:nvPicPr>
          <p:cNvPr id="5" name="Рисунок 4">
            <a:hlinkClick r:id="rId2"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453336"/>
            <a:ext cx="2526984" cy="29841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5" name="Titel 1"/>
          <p:cNvSpPr>
            <a:spLocks noGrp="1"/>
          </p:cNvSpPr>
          <p:nvPr>
            <p:ph type="title"/>
          </p:nvPr>
        </p:nvSpPr>
        <p:spPr>
          <a:xfrm>
            <a:off x="539750" y="404813"/>
            <a:ext cx="8064500" cy="814387"/>
          </a:xfrm>
        </p:spPr>
        <p:txBody>
          <a:bodyPr/>
          <a:lstStyle/>
          <a:p>
            <a:r>
              <a:rPr lang="ru-RU" smtClean="0"/>
              <a:t>Растениеводческое освещение</a:t>
            </a:r>
            <a:br>
              <a:rPr lang="ru-RU" smtClean="0"/>
            </a:br>
            <a:r>
              <a:rPr lang="ru-RU" smtClean="0"/>
              <a:t>Примеры пропорций смешения света светодиодов для различных целей</a:t>
            </a:r>
          </a:p>
        </p:txBody>
      </p:sp>
      <p:sp>
        <p:nvSpPr>
          <p:cNvPr id="129026" name="Textfeld 7"/>
          <p:cNvSpPr txBox="1">
            <a:spLocks noChangeArrowheads="1"/>
          </p:cNvSpPr>
          <p:nvPr/>
        </p:nvSpPr>
        <p:spPr bwMode="auto">
          <a:xfrm>
            <a:off x="539750" y="6021388"/>
            <a:ext cx="4552950" cy="249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000" b="1"/>
              <a:t>Источник: http://www.illumitex.com/illumitex-leds/surexi-horticulture-leds/</a:t>
            </a:r>
          </a:p>
        </p:txBody>
      </p:sp>
      <p:pic>
        <p:nvPicPr>
          <p:cNvPr id="129027" name="Picture 2"/>
          <p:cNvPicPr>
            <a:picLocks noChangeAspect="1" noChangeArrowheads="1"/>
          </p:cNvPicPr>
          <p:nvPr/>
        </p:nvPicPr>
        <p:blipFill>
          <a:blip r:embed="rId2" cstate="print"/>
          <a:srcRect r="8315"/>
          <a:stretch>
            <a:fillRect/>
          </a:stretch>
        </p:blipFill>
        <p:spPr bwMode="auto">
          <a:xfrm>
            <a:off x="4643438" y="1412875"/>
            <a:ext cx="3960812" cy="2160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9" name="Tabelle 8"/>
          <p:cNvGraphicFramePr>
            <a:graphicFrameLocks noGrp="1"/>
          </p:cNvGraphicFramePr>
          <p:nvPr/>
        </p:nvGraphicFramePr>
        <p:xfrm>
          <a:off x="539750" y="1397000"/>
          <a:ext cx="3960815" cy="2468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30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957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019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22526">
                <a:tc gridSpan="3"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Общее назначение — высокая эффективность</a:t>
                      </a:r>
                      <a:endParaRPr lang="ru-RU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2526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Тип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Длина волны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Доля общей мощности</a:t>
                      </a:r>
                      <a:endParaRPr lang="ru-RU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2526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LD Cxxx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450 нм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3 %</a:t>
                      </a:r>
                      <a:endParaRPr lang="ru-RU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2526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LH Cxxx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660 нм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77 %</a:t>
                      </a:r>
                      <a:endParaRPr lang="ru-RU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3825">
                <a:tc gridSpan="3">
                  <a:txBody>
                    <a:bodyPr/>
                    <a:lstStyle/>
                    <a:p>
                      <a:pPr algn="l"/>
                      <a:r>
                        <a:rPr lang="en-US" sz="1200" dirty="0" smtClean="0"/>
                        <a:t>Наивысшая спектральная эффективность (в мкмоль/Дж) достигается при воздействии излучением красных светодиодов с длиной волны 660 нм и добавленным в разумной пропорции излучением синих светодиодов с длиной волны 450 нм</a:t>
                      </a:r>
                      <a:endParaRPr lang="ru-RU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129050" name="Picture 3"/>
          <p:cNvPicPr>
            <a:picLocks noChangeAspect="1" noChangeArrowheads="1"/>
          </p:cNvPicPr>
          <p:nvPr/>
        </p:nvPicPr>
        <p:blipFill>
          <a:blip r:embed="rId3" cstate="print"/>
          <a:srcRect r="8315"/>
          <a:stretch>
            <a:fillRect/>
          </a:stretch>
        </p:blipFill>
        <p:spPr bwMode="auto">
          <a:xfrm>
            <a:off x="4643438" y="3789363"/>
            <a:ext cx="3960812" cy="2160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Tabelle 10"/>
          <p:cNvGraphicFramePr>
            <a:graphicFrameLocks noGrp="1"/>
          </p:cNvGraphicFramePr>
          <p:nvPr/>
        </p:nvGraphicFramePr>
        <p:xfrm>
          <a:off x="539750" y="3789363"/>
          <a:ext cx="3960813" cy="2286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30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9577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019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73624">
                <a:tc gridSpan="3"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Вегетативный рост</a:t>
                      </a:r>
                      <a:endParaRPr lang="ru-RU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3624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Тип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Длина волны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Доля общей мощности</a:t>
                      </a:r>
                      <a:endParaRPr lang="ru-RU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3624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LD Cxxx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450 нм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50 %</a:t>
                      </a:r>
                      <a:endParaRPr lang="ru-RU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3624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LH Cxxx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660 нм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50 %</a:t>
                      </a:r>
                      <a:endParaRPr lang="ru-RU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5302">
                <a:tc gridSpan="3">
                  <a:txBody>
                    <a:bodyPr/>
                    <a:lstStyle/>
                    <a:p>
                      <a:pPr algn="l"/>
                      <a:r>
                        <a:rPr lang="en-US" sz="1200" dirty="0" smtClean="0"/>
                        <a:t>Соотношение, стимулирующее вегетативный рост, применяют для ускорения роста в условиях, когда визуальная оценка здоровья растения не важна (особенно при выращивании зеленых листовых овощей)</a:t>
                      </a:r>
                      <a:endParaRPr lang="ru-RU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29074" name="Text Box 50"/>
          <p:cNvSpPr txBox="1">
            <a:spLocks noChangeArrowheads="1"/>
          </p:cNvSpPr>
          <p:nvPr/>
        </p:nvSpPr>
        <p:spPr bwMode="auto">
          <a:xfrm>
            <a:off x="6011863" y="5734050"/>
            <a:ext cx="1871662" cy="177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36000">
            <a:spAutoFit/>
          </a:bodyPr>
          <a:lstStyle/>
          <a:p>
            <a:pPr algn="ctr">
              <a:lnSpc>
                <a:spcPct val="115000"/>
              </a:lnSpc>
              <a:spcBef>
                <a:spcPct val="50000"/>
              </a:spcBef>
            </a:pPr>
            <a:r>
              <a:rPr lang="ru-RU" sz="800"/>
              <a:t>Длина волны, нм</a:t>
            </a:r>
          </a:p>
        </p:txBody>
      </p:sp>
      <p:sp>
        <p:nvSpPr>
          <p:cNvPr id="129075" name="Text Box 51"/>
          <p:cNvSpPr txBox="1">
            <a:spLocks noChangeArrowheads="1"/>
          </p:cNvSpPr>
          <p:nvPr/>
        </p:nvSpPr>
        <p:spPr bwMode="auto">
          <a:xfrm rot="16200000">
            <a:off x="4029869" y="4688682"/>
            <a:ext cx="1404937" cy="177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36000">
            <a:spAutoFit/>
          </a:bodyPr>
          <a:lstStyle/>
          <a:p>
            <a:pPr algn="ctr">
              <a:lnSpc>
                <a:spcPct val="115000"/>
              </a:lnSpc>
              <a:spcBef>
                <a:spcPct val="50000"/>
              </a:spcBef>
            </a:pPr>
            <a:r>
              <a:rPr lang="ru-RU" sz="800"/>
              <a:t>Плотность мощности, Вт/нм</a:t>
            </a:r>
          </a:p>
        </p:txBody>
      </p:sp>
      <p:sp>
        <p:nvSpPr>
          <p:cNvPr id="129076" name="Text Box 52"/>
          <p:cNvSpPr txBox="1">
            <a:spLocks noChangeArrowheads="1"/>
          </p:cNvSpPr>
          <p:nvPr/>
        </p:nvSpPr>
        <p:spPr bwMode="auto">
          <a:xfrm>
            <a:off x="6011863" y="3357563"/>
            <a:ext cx="1871662" cy="177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36000">
            <a:spAutoFit/>
          </a:bodyPr>
          <a:lstStyle/>
          <a:p>
            <a:pPr algn="ctr">
              <a:lnSpc>
                <a:spcPct val="115000"/>
              </a:lnSpc>
              <a:spcBef>
                <a:spcPct val="50000"/>
              </a:spcBef>
            </a:pPr>
            <a:r>
              <a:rPr lang="ru-RU" sz="800"/>
              <a:t>Длина волны, нм</a:t>
            </a:r>
          </a:p>
        </p:txBody>
      </p:sp>
      <p:sp>
        <p:nvSpPr>
          <p:cNvPr id="129077" name="Text Box 53"/>
          <p:cNvSpPr txBox="1">
            <a:spLocks noChangeArrowheads="1"/>
          </p:cNvSpPr>
          <p:nvPr/>
        </p:nvSpPr>
        <p:spPr bwMode="auto">
          <a:xfrm rot="16200000">
            <a:off x="4029869" y="2313782"/>
            <a:ext cx="1404937" cy="177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36000">
            <a:spAutoFit/>
          </a:bodyPr>
          <a:lstStyle/>
          <a:p>
            <a:pPr algn="ctr">
              <a:lnSpc>
                <a:spcPct val="115000"/>
              </a:lnSpc>
              <a:spcBef>
                <a:spcPct val="50000"/>
              </a:spcBef>
            </a:pPr>
            <a:r>
              <a:rPr lang="ru-RU" sz="800"/>
              <a:t>Плотность мощности, Вт/нм</a:t>
            </a:r>
          </a:p>
        </p:txBody>
      </p:sp>
      <p:pic>
        <p:nvPicPr>
          <p:cNvPr id="12" name="Рисунок 11">
            <a:hlinkClick r:id="rId4"/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453336"/>
            <a:ext cx="2526984" cy="29841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49" name="Titel 1"/>
          <p:cNvSpPr>
            <a:spLocks noGrp="1"/>
          </p:cNvSpPr>
          <p:nvPr>
            <p:ph type="title"/>
          </p:nvPr>
        </p:nvSpPr>
        <p:spPr>
          <a:xfrm>
            <a:off x="539750" y="404813"/>
            <a:ext cx="8064500" cy="814387"/>
          </a:xfrm>
        </p:spPr>
        <p:txBody>
          <a:bodyPr/>
          <a:lstStyle/>
          <a:p>
            <a:r>
              <a:rPr lang="ru-RU" smtClean="0"/>
              <a:t>Растениеводческое освещение</a:t>
            </a:r>
            <a:br>
              <a:rPr lang="ru-RU" smtClean="0"/>
            </a:br>
            <a:r>
              <a:rPr lang="ru-RU" smtClean="0"/>
              <a:t>Примеры пропорций смешения света светодиодов для различных целей</a:t>
            </a:r>
          </a:p>
        </p:txBody>
      </p:sp>
      <p:sp>
        <p:nvSpPr>
          <p:cNvPr id="130050" name="Textfeld 7"/>
          <p:cNvSpPr txBox="1">
            <a:spLocks noChangeArrowheads="1"/>
          </p:cNvSpPr>
          <p:nvPr/>
        </p:nvSpPr>
        <p:spPr bwMode="auto">
          <a:xfrm>
            <a:off x="539750" y="6021388"/>
            <a:ext cx="4552950" cy="249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000" b="1"/>
              <a:t>Источник: http://www.illumitex.com/illumitex-leds/surexi-horticulture-leds/</a:t>
            </a:r>
          </a:p>
        </p:txBody>
      </p:sp>
      <p:graphicFrame>
        <p:nvGraphicFramePr>
          <p:cNvPr id="9" name="Tabelle 8"/>
          <p:cNvGraphicFramePr>
            <a:graphicFrameLocks noGrp="1"/>
          </p:cNvGraphicFramePr>
          <p:nvPr/>
        </p:nvGraphicFramePr>
        <p:xfrm>
          <a:off x="539750" y="1397000"/>
          <a:ext cx="3960815" cy="1920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30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957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019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9425">
                <a:tc gridSpan="3"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Выращивание саженцев</a:t>
                      </a:r>
                      <a:endParaRPr lang="ru-RU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9425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Тип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Длина волны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Доля общей мощности</a:t>
                      </a:r>
                      <a:endParaRPr lang="ru-RU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9425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LD Cxxx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450 нм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75 %</a:t>
                      </a:r>
                      <a:endParaRPr lang="ru-RU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9425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LH Cxxx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660 нм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5 %</a:t>
                      </a:r>
                      <a:endParaRPr lang="ru-RU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8195">
                <a:tc gridSpan="3">
                  <a:txBody>
                    <a:bodyPr/>
                    <a:lstStyle/>
                    <a:p>
                      <a:pPr algn="l"/>
                      <a:r>
                        <a:rPr lang="en-US" sz="1200" dirty="0" smtClean="0"/>
                        <a:t>Для выращивания саженцев рекомендуется воздействие светом с высоким содержанием синих составляющих. </a:t>
                      </a:r>
                      <a:endParaRPr lang="ru-RU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130073" name="Picture 2"/>
          <p:cNvPicPr>
            <a:picLocks noChangeAspect="1" noChangeArrowheads="1"/>
          </p:cNvPicPr>
          <p:nvPr/>
        </p:nvPicPr>
        <p:blipFill>
          <a:blip r:embed="rId2" cstate="print"/>
          <a:srcRect r="8315"/>
          <a:stretch>
            <a:fillRect/>
          </a:stretch>
        </p:blipFill>
        <p:spPr bwMode="auto">
          <a:xfrm>
            <a:off x="4643438" y="1412875"/>
            <a:ext cx="3960812" cy="2160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0075" name="Text Box 27"/>
          <p:cNvSpPr txBox="1">
            <a:spLocks noChangeArrowheads="1"/>
          </p:cNvSpPr>
          <p:nvPr/>
        </p:nvSpPr>
        <p:spPr bwMode="auto">
          <a:xfrm>
            <a:off x="6011863" y="3357563"/>
            <a:ext cx="1871662" cy="177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36000">
            <a:spAutoFit/>
          </a:bodyPr>
          <a:lstStyle/>
          <a:p>
            <a:pPr algn="ctr">
              <a:lnSpc>
                <a:spcPct val="115000"/>
              </a:lnSpc>
              <a:spcBef>
                <a:spcPct val="50000"/>
              </a:spcBef>
            </a:pPr>
            <a:r>
              <a:rPr lang="ru-RU" sz="800"/>
              <a:t>Длина волны, нм</a:t>
            </a:r>
          </a:p>
        </p:txBody>
      </p:sp>
      <p:sp>
        <p:nvSpPr>
          <p:cNvPr id="130076" name="Text Box 28"/>
          <p:cNvSpPr txBox="1">
            <a:spLocks noChangeArrowheads="1"/>
          </p:cNvSpPr>
          <p:nvPr/>
        </p:nvSpPr>
        <p:spPr bwMode="auto">
          <a:xfrm rot="16200000">
            <a:off x="4029869" y="2313782"/>
            <a:ext cx="1404937" cy="177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36000">
            <a:spAutoFit/>
          </a:bodyPr>
          <a:lstStyle/>
          <a:p>
            <a:pPr algn="ctr">
              <a:lnSpc>
                <a:spcPct val="115000"/>
              </a:lnSpc>
              <a:spcBef>
                <a:spcPct val="50000"/>
              </a:spcBef>
            </a:pPr>
            <a:r>
              <a:rPr lang="ru-RU" sz="800"/>
              <a:t>Плотность мощности, Вт/нм</a:t>
            </a:r>
          </a:p>
        </p:txBody>
      </p:sp>
      <p:pic>
        <p:nvPicPr>
          <p:cNvPr id="8" name="Рисунок 7">
            <a:hlinkClick r:id="rId3"/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453336"/>
            <a:ext cx="2526984" cy="29841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3" name="Rechteck 2"/>
          <p:cNvSpPr>
            <a:spLocks noChangeArrowheads="1"/>
          </p:cNvSpPr>
          <p:nvPr/>
        </p:nvSpPr>
        <p:spPr bwMode="auto">
          <a:xfrm>
            <a:off x="611188" y="5949950"/>
            <a:ext cx="377031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800" b="1"/>
              <a:t>Внутриценозное освещение: иллюстрация предоставлена Netled</a:t>
            </a:r>
            <a:r>
              <a:rPr lang="ru-RU"/>
              <a:t> </a:t>
            </a:r>
            <a:r>
              <a:rPr lang="en-US" sz="800" b="1"/>
              <a:t>Oy</a:t>
            </a:r>
            <a:r>
              <a:rPr lang="ru-RU"/>
              <a:t> </a:t>
            </a:r>
            <a:endParaRPr lang="ru-RU" sz="800" b="1"/>
          </a:p>
        </p:txBody>
      </p:sp>
      <p:sp>
        <p:nvSpPr>
          <p:cNvPr id="131074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>
                <a:solidFill>
                  <a:srgbClr val="FF6600"/>
                </a:solidFill>
              </a:rPr>
              <a:t>OSLON</a:t>
            </a:r>
            <a:r>
              <a:rPr lang="en-US" baseline="30000" smtClean="0">
                <a:solidFill>
                  <a:srgbClr val="FF6600"/>
                </a:solidFill>
              </a:rPr>
              <a:t>®</a:t>
            </a:r>
            <a:r>
              <a:rPr lang="en-US" smtClean="0">
                <a:solidFill>
                  <a:srgbClr val="FF6600"/>
                </a:solidFill>
              </a:rPr>
              <a:t> SSL</a:t>
            </a:r>
            <a:r>
              <a:rPr lang="ru-RU" smtClean="0"/>
              <a:t/>
            </a:r>
            <a:br>
              <a:rPr lang="ru-RU" smtClean="0"/>
            </a:br>
            <a:r>
              <a:rPr lang="en-US" smtClean="0">
                <a:solidFill>
                  <a:srgbClr val="FF6600"/>
                </a:solidFill>
              </a:rPr>
              <a:t>Светодиодное тепличное освещение</a:t>
            </a:r>
            <a:endParaRPr lang="ru-RU" smtClean="0">
              <a:solidFill>
                <a:srgbClr val="FF6600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468313" y="1341438"/>
            <a:ext cx="2460625" cy="36671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>
                <a:solidFill>
                  <a:srgbClr val="58585A"/>
                </a:solidFill>
              </a:rPr>
              <a:t>Верхнее освещение</a:t>
            </a:r>
            <a:endParaRPr lang="ru-RU">
              <a:solidFill>
                <a:srgbClr val="000000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468313" y="3789363"/>
            <a:ext cx="3398837" cy="36671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>
                <a:solidFill>
                  <a:srgbClr val="58585A"/>
                </a:solidFill>
              </a:rPr>
              <a:t>Внутриценозное освещение</a:t>
            </a:r>
            <a:endParaRPr lang="ru-RU">
              <a:solidFill>
                <a:srgbClr val="000000"/>
              </a:solidFill>
            </a:endParaRPr>
          </a:p>
        </p:txBody>
      </p:sp>
      <p:pic>
        <p:nvPicPr>
          <p:cNvPr id="131077" name="Picture 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4213" y="4149725"/>
            <a:ext cx="2879725" cy="191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1078" name="Picture 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4213" y="1700213"/>
            <a:ext cx="2879725" cy="1919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1079" name="Textfeld 13"/>
          <p:cNvSpPr txBox="1">
            <a:spLocks noChangeArrowheads="1"/>
          </p:cNvSpPr>
          <p:nvPr/>
        </p:nvSpPr>
        <p:spPr bwMode="auto">
          <a:xfrm>
            <a:off x="3635375" y="4005263"/>
            <a:ext cx="4968875" cy="2063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lnSpc>
                <a:spcPct val="110000"/>
              </a:lnSpc>
            </a:pPr>
            <a:r>
              <a:rPr lang="en-US" sz="1300"/>
              <a:t>На базе светодиодов можно реализовать внутриценозное освещение (interlighting), когда источники света располагаются между растениями и листьями. Внутриценозное освещение призвано уменьшить затенение листьев, которое случается при верхнем освещении. За счет этого даже на нижнем ярусе листья получают больше света.</a:t>
            </a:r>
          </a:p>
          <a:p>
            <a:pPr algn="just">
              <a:lnSpc>
                <a:spcPct val="110000"/>
              </a:lnSpc>
            </a:pPr>
            <a:r>
              <a:rPr lang="en-US" sz="1300"/>
              <a:t>В отличие от светильников с натриевыми лампами, светодиодные светильники имеют относительно низкую рабочую температуру и поэтому не повреждают растения.</a:t>
            </a:r>
          </a:p>
        </p:txBody>
      </p:sp>
      <p:sp>
        <p:nvSpPr>
          <p:cNvPr id="131080" name="Textfeld 14"/>
          <p:cNvSpPr txBox="1">
            <a:spLocks noChangeArrowheads="1"/>
          </p:cNvSpPr>
          <p:nvPr/>
        </p:nvSpPr>
        <p:spPr bwMode="auto">
          <a:xfrm>
            <a:off x="3635375" y="1628775"/>
            <a:ext cx="4968875" cy="140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lnSpc>
                <a:spcPct val="110000"/>
              </a:lnSpc>
            </a:pPr>
            <a:r>
              <a:rPr lang="en-US" sz="1300"/>
              <a:t>При использовании традиционных источников света растения обычно освещаются сверху, подобно тому как их освещает солнце. </a:t>
            </a:r>
          </a:p>
          <a:p>
            <a:pPr algn="just">
              <a:lnSpc>
                <a:spcPct val="110000"/>
              </a:lnSpc>
            </a:pPr>
            <a:r>
              <a:rPr lang="en-US" sz="1300"/>
              <a:t>Высокое энергопотребление и тепловыделение светильников с НЛВД также вынуждает устанавливать эти источники света на удалении от растений. </a:t>
            </a:r>
          </a:p>
        </p:txBody>
      </p:sp>
      <p:pic>
        <p:nvPicPr>
          <p:cNvPr id="11" name="Рисунок 10">
            <a:hlinkClick r:id="rId4"/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453336"/>
            <a:ext cx="2526984" cy="29841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097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Сегодняшний лидер рынка — </a:t>
            </a:r>
            <a:br>
              <a:rPr lang="ru-RU" smtClean="0"/>
            </a:br>
            <a:r>
              <a:rPr lang="ru-RU" smtClean="0"/>
              <a:t>натриевые лампы высокого давления (НЛВД)</a:t>
            </a: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>
          <a:xfrm>
            <a:off x="468313" y="1412875"/>
            <a:ext cx="4392612" cy="4176713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10000"/>
              </a:lnSpc>
            </a:pPr>
            <a:r>
              <a:rPr lang="en-US" sz="1600" b="1">
                <a:solidFill>
                  <a:schemeClr val="accent2"/>
                </a:solidFill>
              </a:rPr>
              <a:t>Широко применяемые сегодня натриевые лампы высокого давления (НЛВД) имеют световую отдачу свыше 100 лм/Вт, но в широком диапазоне длин волн</a:t>
            </a:r>
          </a:p>
          <a:p>
            <a:pPr>
              <a:lnSpc>
                <a:spcPct val="110000"/>
              </a:lnSpc>
            </a:pPr>
            <a:endParaRPr lang="ru-RU" sz="1600" b="1">
              <a:solidFill>
                <a:schemeClr val="accent2"/>
              </a:solidFill>
            </a:endParaRPr>
          </a:p>
          <a:p>
            <a:pPr>
              <a:lnSpc>
                <a:spcPct val="110000"/>
              </a:lnSpc>
            </a:pPr>
            <a:r>
              <a:rPr lang="en-US" sz="1600" b="1">
                <a:solidFill>
                  <a:schemeClr val="accent2"/>
                </a:solidFill>
              </a:rPr>
              <a:t>Измерение светоотдачи в люменах на ватт вводит в заблуждение, так как у растений нет глаз</a:t>
            </a:r>
          </a:p>
          <a:p>
            <a:pPr>
              <a:lnSpc>
                <a:spcPct val="110000"/>
              </a:lnSpc>
            </a:pPr>
            <a:endParaRPr lang="ru-RU" sz="1600" b="1">
              <a:solidFill>
                <a:schemeClr val="accent2"/>
              </a:solidFill>
            </a:endParaRPr>
          </a:p>
          <a:p>
            <a:pPr>
              <a:lnSpc>
                <a:spcPct val="110000"/>
              </a:lnSpc>
            </a:pPr>
            <a:r>
              <a:rPr lang="en-US" sz="1600" b="1">
                <a:solidFill>
                  <a:schemeClr val="accent2"/>
                </a:solidFill>
              </a:rPr>
              <a:t>Типичный срок службы — всего 8000 ч</a:t>
            </a:r>
          </a:p>
          <a:p>
            <a:pPr>
              <a:lnSpc>
                <a:spcPct val="110000"/>
              </a:lnSpc>
            </a:pPr>
            <a:endParaRPr lang="ru-RU" sz="1600" b="1">
              <a:solidFill>
                <a:schemeClr val="accent2"/>
              </a:solidFill>
            </a:endParaRPr>
          </a:p>
          <a:p>
            <a:pPr>
              <a:lnSpc>
                <a:spcPct val="110000"/>
              </a:lnSpc>
            </a:pPr>
            <a:r>
              <a:rPr lang="en-US" sz="1600" b="1">
                <a:solidFill>
                  <a:schemeClr val="accent2"/>
                </a:solidFill>
              </a:rPr>
              <a:t>Выход на полную мощность занимает несколько минут</a:t>
            </a:r>
          </a:p>
          <a:p>
            <a:pPr>
              <a:lnSpc>
                <a:spcPct val="110000"/>
              </a:lnSpc>
            </a:pPr>
            <a:endParaRPr lang="ru-RU" sz="1600" b="1">
              <a:solidFill>
                <a:schemeClr val="accent2"/>
              </a:solidFill>
            </a:endParaRPr>
          </a:p>
          <a:p>
            <a:pPr>
              <a:lnSpc>
                <a:spcPct val="110000"/>
              </a:lnSpc>
            </a:pPr>
            <a:r>
              <a:rPr lang="en-US" sz="1600" b="1">
                <a:solidFill>
                  <a:schemeClr val="accent2"/>
                </a:solidFill>
              </a:rPr>
              <a:t>Наиболее рентабельны крупногабаритные лампы</a:t>
            </a:r>
          </a:p>
        </p:txBody>
      </p:sp>
      <p:pic>
        <p:nvPicPr>
          <p:cNvPr id="132100" name="Picture 7" descr="600HPS%20Lamp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859338" y="2349500"/>
            <a:ext cx="3600450" cy="1954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32101" name="Group 20"/>
          <p:cNvGrpSpPr>
            <a:grpSpLocks/>
          </p:cNvGrpSpPr>
          <p:nvPr/>
        </p:nvGrpSpPr>
        <p:grpSpPr bwMode="auto">
          <a:xfrm>
            <a:off x="7159625" y="2786063"/>
            <a:ext cx="1665288" cy="1157287"/>
            <a:chOff x="4711" y="2137"/>
            <a:chExt cx="1223" cy="768"/>
          </a:xfrm>
        </p:grpSpPr>
        <p:sp>
          <p:nvSpPr>
            <p:cNvPr id="132111" name="Line 8"/>
            <p:cNvSpPr>
              <a:spLocks noChangeShapeType="1"/>
            </p:cNvSpPr>
            <p:nvPr/>
          </p:nvSpPr>
          <p:spPr bwMode="gray">
            <a:xfrm flipH="1">
              <a:off x="4779" y="2387"/>
              <a:ext cx="198" cy="51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lIns="0" tIns="0" rIns="0" bIns="0" anchor="ctr">
              <a:spAutoFit/>
            </a:bodyPr>
            <a:lstStyle/>
            <a:p>
              <a:endParaRPr lang="ru-RU"/>
            </a:p>
          </p:txBody>
        </p:sp>
        <p:sp>
          <p:nvSpPr>
            <p:cNvPr id="132112" name="Text Box 9"/>
            <p:cNvSpPr txBox="1">
              <a:spLocks noChangeArrowheads="1"/>
            </p:cNvSpPr>
            <p:nvPr/>
          </p:nvSpPr>
          <p:spPr bwMode="gray">
            <a:xfrm>
              <a:off x="4711" y="2137"/>
              <a:ext cx="1223" cy="45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179388" indent="-179388" algn="ctr">
                <a:spcBef>
                  <a:spcPct val="50000"/>
                </a:spcBef>
                <a:buFont typeface="Symbol" pitchFamily="18" charset="2"/>
                <a:buNone/>
              </a:pPr>
              <a:r>
                <a:rPr lang="de-DE">
                  <a:solidFill>
                    <a:srgbClr val="000000"/>
                  </a:solidFill>
                </a:rPr>
                <a:t>Слишком мало </a:t>
              </a:r>
            </a:p>
            <a:p>
              <a:pPr marL="179388" indent="-179388" algn="ctr">
                <a:spcBef>
                  <a:spcPct val="50000"/>
                </a:spcBef>
                <a:buFont typeface="Symbol" pitchFamily="18" charset="2"/>
                <a:buNone/>
              </a:pPr>
              <a:r>
                <a:rPr lang="de-DE">
                  <a:solidFill>
                    <a:srgbClr val="000000"/>
                  </a:solidFill>
                </a:rPr>
                <a:t>гипер-красного</a:t>
              </a:r>
            </a:p>
          </p:txBody>
        </p:sp>
      </p:grpSp>
      <p:grpSp>
        <p:nvGrpSpPr>
          <p:cNvPr id="132102" name="Group 19"/>
          <p:cNvGrpSpPr>
            <a:grpSpLocks/>
          </p:cNvGrpSpPr>
          <p:nvPr/>
        </p:nvGrpSpPr>
        <p:grpSpPr bwMode="auto">
          <a:xfrm>
            <a:off x="6086475" y="3962400"/>
            <a:ext cx="1835150" cy="757238"/>
            <a:chOff x="3924" y="2917"/>
            <a:chExt cx="1347" cy="502"/>
          </a:xfrm>
        </p:grpSpPr>
        <p:sp>
          <p:nvSpPr>
            <p:cNvPr id="132109" name="Text Box 11"/>
            <p:cNvSpPr txBox="1">
              <a:spLocks noChangeArrowheads="1"/>
            </p:cNvSpPr>
            <p:nvPr/>
          </p:nvSpPr>
          <p:spPr bwMode="gray">
            <a:xfrm>
              <a:off x="3924" y="3237"/>
              <a:ext cx="1347" cy="18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179388" indent="-179388" algn="ctr">
                <a:spcBef>
                  <a:spcPct val="50000"/>
                </a:spcBef>
                <a:buFont typeface="Symbol" pitchFamily="18" charset="2"/>
                <a:buNone/>
              </a:pPr>
              <a:r>
                <a:rPr lang="de-DE">
                  <a:solidFill>
                    <a:srgbClr val="000000"/>
                  </a:solidFill>
                </a:rPr>
                <a:t>Красный в норме</a:t>
              </a:r>
            </a:p>
          </p:txBody>
        </p:sp>
        <p:sp>
          <p:nvSpPr>
            <p:cNvPr id="132110" name="Line 12"/>
            <p:cNvSpPr>
              <a:spLocks noChangeShapeType="1"/>
            </p:cNvSpPr>
            <p:nvPr/>
          </p:nvSpPr>
          <p:spPr bwMode="gray">
            <a:xfrm flipH="1" flipV="1">
              <a:off x="4468" y="2917"/>
              <a:ext cx="113" cy="26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lIns="0" tIns="0" rIns="0" bIns="0" anchor="ctr">
              <a:spAutoFit/>
            </a:bodyPr>
            <a:lstStyle/>
            <a:p>
              <a:endParaRPr lang="ru-RU"/>
            </a:p>
          </p:txBody>
        </p:sp>
      </p:grpSp>
      <p:grpSp>
        <p:nvGrpSpPr>
          <p:cNvPr id="132103" name="Group 17"/>
          <p:cNvGrpSpPr>
            <a:grpSpLocks/>
          </p:cNvGrpSpPr>
          <p:nvPr/>
        </p:nvGrpSpPr>
        <p:grpSpPr bwMode="auto">
          <a:xfrm>
            <a:off x="4941888" y="3246438"/>
            <a:ext cx="1347787" cy="812800"/>
            <a:chOff x="3082" y="2443"/>
            <a:chExt cx="991" cy="539"/>
          </a:xfrm>
        </p:grpSpPr>
        <p:sp>
          <p:nvSpPr>
            <p:cNvPr id="132107" name="Line 10"/>
            <p:cNvSpPr>
              <a:spLocks noChangeShapeType="1"/>
            </p:cNvSpPr>
            <p:nvPr/>
          </p:nvSpPr>
          <p:spPr bwMode="gray">
            <a:xfrm>
              <a:off x="3504" y="2614"/>
              <a:ext cx="170" cy="36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lIns="0" tIns="0" rIns="0" bIns="0" anchor="ctr">
              <a:spAutoFit/>
            </a:bodyPr>
            <a:lstStyle/>
            <a:p>
              <a:endParaRPr lang="ru-RU"/>
            </a:p>
          </p:txBody>
        </p:sp>
        <p:sp>
          <p:nvSpPr>
            <p:cNvPr id="132108" name="Text Box 13"/>
            <p:cNvSpPr txBox="1">
              <a:spLocks noChangeArrowheads="1"/>
            </p:cNvSpPr>
            <p:nvPr/>
          </p:nvSpPr>
          <p:spPr bwMode="gray">
            <a:xfrm>
              <a:off x="3082" y="2443"/>
              <a:ext cx="991" cy="18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179388" indent="-179388" algn="ctr">
                <a:spcBef>
                  <a:spcPct val="50000"/>
                </a:spcBef>
                <a:buFont typeface="Symbol" pitchFamily="18" charset="2"/>
                <a:buNone/>
              </a:pPr>
              <a:r>
                <a:rPr lang="de-DE">
                  <a:solidFill>
                    <a:srgbClr val="000000"/>
                  </a:solidFill>
                </a:rPr>
                <a:t>Мало синего</a:t>
              </a:r>
              <a:endParaRPr lang="ru-RU">
                <a:solidFill>
                  <a:srgbClr val="000000"/>
                </a:solidFill>
              </a:endParaRPr>
            </a:p>
          </p:txBody>
        </p:sp>
      </p:grpSp>
      <p:grpSp>
        <p:nvGrpSpPr>
          <p:cNvPr id="132104" name="Group 18"/>
          <p:cNvGrpSpPr>
            <a:grpSpLocks/>
          </p:cNvGrpSpPr>
          <p:nvPr/>
        </p:nvGrpSpPr>
        <p:grpSpPr bwMode="auto">
          <a:xfrm>
            <a:off x="4572000" y="3860800"/>
            <a:ext cx="2598738" cy="1087438"/>
            <a:chOff x="2842" y="2840"/>
            <a:chExt cx="1909" cy="721"/>
          </a:xfrm>
        </p:grpSpPr>
        <p:sp>
          <p:nvSpPr>
            <p:cNvPr id="132105" name="Text Box 14"/>
            <p:cNvSpPr txBox="1">
              <a:spLocks noChangeArrowheads="1"/>
            </p:cNvSpPr>
            <p:nvPr/>
          </p:nvSpPr>
          <p:spPr bwMode="gray">
            <a:xfrm>
              <a:off x="2842" y="3379"/>
              <a:ext cx="1909" cy="18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179388" indent="-179388" algn="ctr">
                <a:spcBef>
                  <a:spcPct val="50000"/>
                </a:spcBef>
                <a:buFont typeface="Symbol" pitchFamily="18" charset="2"/>
                <a:buNone/>
              </a:pPr>
              <a:r>
                <a:rPr lang="de-DE">
                  <a:solidFill>
                    <a:srgbClr val="000000"/>
                  </a:solidFill>
                </a:rPr>
                <a:t>Слишком</a:t>
              </a:r>
              <a:r>
                <a:rPr lang="ru-RU"/>
                <a:t> </a:t>
              </a:r>
              <a:r>
                <a:rPr lang="de-DE">
                  <a:solidFill>
                    <a:srgbClr val="000000"/>
                  </a:solidFill>
                </a:rPr>
                <a:t>много</a:t>
              </a:r>
              <a:r>
                <a:rPr lang="ru-RU"/>
                <a:t> </a:t>
              </a:r>
              <a:r>
                <a:rPr lang="de-DE">
                  <a:solidFill>
                    <a:srgbClr val="000000"/>
                  </a:solidFill>
                </a:rPr>
                <a:t>желтого</a:t>
              </a:r>
            </a:p>
          </p:txBody>
        </p:sp>
        <p:sp>
          <p:nvSpPr>
            <p:cNvPr id="132106" name="Line 15"/>
            <p:cNvSpPr>
              <a:spLocks noChangeShapeType="1"/>
            </p:cNvSpPr>
            <p:nvPr/>
          </p:nvSpPr>
          <p:spPr bwMode="gray">
            <a:xfrm flipV="1">
              <a:off x="3844" y="2840"/>
              <a:ext cx="340" cy="51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wrap="none" lIns="0" tIns="0" rIns="0" bIns="0" anchor="ctr">
              <a:spAutoFit/>
            </a:bodyPr>
            <a:lstStyle/>
            <a:p>
              <a:endParaRPr lang="ru-RU"/>
            </a:p>
          </p:txBody>
        </p:sp>
      </p:grpSp>
      <p:sp>
        <p:nvSpPr>
          <p:cNvPr id="132114" name="Text Box 18"/>
          <p:cNvSpPr txBox="1">
            <a:spLocks noChangeArrowheads="1"/>
          </p:cNvSpPr>
          <p:nvPr/>
        </p:nvSpPr>
        <p:spPr bwMode="auto">
          <a:xfrm>
            <a:off x="4859338" y="2349500"/>
            <a:ext cx="3960812" cy="2460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36000">
            <a:spAutoFit/>
          </a:bodyPr>
          <a:lstStyle/>
          <a:p>
            <a:pPr algn="ctr">
              <a:lnSpc>
                <a:spcPct val="115000"/>
              </a:lnSpc>
              <a:spcBef>
                <a:spcPct val="50000"/>
              </a:spcBef>
            </a:pPr>
            <a:r>
              <a:rPr lang="ru-RU" sz="1200" b="1"/>
              <a:t>Спектр излучения НЛВД </a:t>
            </a:r>
            <a:r>
              <a:rPr lang="en-US" sz="1200" b="1"/>
              <a:t>HID Hut </a:t>
            </a:r>
            <a:r>
              <a:rPr lang="ru-RU" sz="1200" b="1"/>
              <a:t>мощностью 600 Вт</a:t>
            </a:r>
          </a:p>
        </p:txBody>
      </p:sp>
      <p:pic>
        <p:nvPicPr>
          <p:cNvPr id="18" name="Рисунок 17">
            <a:hlinkClick r:id="rId3"/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453336"/>
            <a:ext cx="2526984" cy="29841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21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mtClean="0"/>
              <a:t>Продукты</a:t>
            </a:r>
          </a:p>
        </p:txBody>
      </p:sp>
      <p:pic>
        <p:nvPicPr>
          <p:cNvPr id="4" name="Рисунок 3">
            <a:hlinkClick r:id="rId2"/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4509120"/>
            <a:ext cx="1080120" cy="143201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5" name="Rectangle 16"/>
          <p:cNvSpPr>
            <a:spLocks noChangeArrowheads="1"/>
          </p:cNvSpPr>
          <p:nvPr/>
        </p:nvSpPr>
        <p:spPr bwMode="auto">
          <a:xfrm>
            <a:off x="7164388" y="1412875"/>
            <a:ext cx="1439862" cy="287338"/>
          </a:xfrm>
          <a:prstGeom prst="rect">
            <a:avLst/>
          </a:prstGeom>
          <a:solidFill>
            <a:schemeClr val="bg1"/>
          </a:solidFill>
          <a:ln w="12700" algn="ctr">
            <a:noFill/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pPr algn="ctr">
              <a:lnSpc>
                <a:spcPct val="110000"/>
              </a:lnSpc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134146" name="Rectangle 17"/>
          <p:cNvSpPr>
            <a:spLocks noChangeArrowheads="1"/>
          </p:cNvSpPr>
          <p:nvPr/>
        </p:nvSpPr>
        <p:spPr bwMode="auto">
          <a:xfrm>
            <a:off x="7164388" y="2413000"/>
            <a:ext cx="1439862" cy="287338"/>
          </a:xfrm>
          <a:prstGeom prst="rect">
            <a:avLst/>
          </a:prstGeom>
          <a:solidFill>
            <a:schemeClr val="bg1"/>
          </a:solidFill>
          <a:ln w="12700" algn="ctr">
            <a:noFill/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pPr algn="ctr">
              <a:lnSpc>
                <a:spcPct val="110000"/>
              </a:lnSpc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134147" name="Foliennummernplatzhalter 10"/>
          <p:cNvSpPr>
            <a:spLocks noGrp="1"/>
          </p:cNvSpPr>
          <p:nvPr>
            <p:ph type="sldNum" sz="quarter" idx="12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D37D3671-DE41-4BFB-8B2C-476340451281}" type="slidenum">
              <a:rPr lang="de-DE"/>
              <a:pPr/>
              <a:t>26</a:t>
            </a:fld>
            <a:endParaRPr lang="ru-RU"/>
          </a:p>
        </p:txBody>
      </p:sp>
      <p:sp>
        <p:nvSpPr>
          <p:cNvPr id="134148" name="Rectangle 16"/>
          <p:cNvSpPr>
            <a:spLocks noChangeArrowheads="1"/>
          </p:cNvSpPr>
          <p:nvPr/>
        </p:nvSpPr>
        <p:spPr bwMode="auto">
          <a:xfrm>
            <a:off x="7316788" y="1268413"/>
            <a:ext cx="1439862" cy="288925"/>
          </a:xfrm>
          <a:prstGeom prst="rect">
            <a:avLst/>
          </a:prstGeom>
          <a:solidFill>
            <a:schemeClr val="bg1"/>
          </a:solidFill>
          <a:ln w="12700" algn="ctr">
            <a:noFill/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pPr algn="ctr">
              <a:lnSpc>
                <a:spcPct val="110000"/>
              </a:lnSpc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134149" name="Rectangle 17"/>
          <p:cNvSpPr>
            <a:spLocks noChangeArrowheads="1"/>
          </p:cNvSpPr>
          <p:nvPr/>
        </p:nvSpPr>
        <p:spPr bwMode="auto">
          <a:xfrm>
            <a:off x="7316788" y="2565400"/>
            <a:ext cx="1439862" cy="287338"/>
          </a:xfrm>
          <a:prstGeom prst="rect">
            <a:avLst/>
          </a:prstGeom>
          <a:solidFill>
            <a:schemeClr val="bg1"/>
          </a:solidFill>
          <a:ln w="12700" algn="ctr">
            <a:noFill/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pPr algn="ctr">
              <a:lnSpc>
                <a:spcPct val="110000"/>
              </a:lnSpc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134150" name="Footer Placeholder 4"/>
          <p:cNvSpPr>
            <a:spLocks noGrp="1"/>
          </p:cNvSpPr>
          <p:nvPr>
            <p:ph type="ftr" sz="quarter" idx="11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US"/>
              <a:t>OSRAM Opto Semiconductors| февраль 2015 г.</a:t>
            </a:r>
            <a:endParaRPr lang="ru-RU"/>
          </a:p>
        </p:txBody>
      </p:sp>
      <p:sp>
        <p:nvSpPr>
          <p:cNvPr id="134151" name="Date Placeholder 3"/>
          <p:cNvSpPr>
            <a:spLocks noGrp="1"/>
          </p:cNvSpPr>
          <p:nvPr>
            <p:ph type="dt" sz="quarter" idx="10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de-DE"/>
              <a:t>Светодиодное растениеводческое освещение | OS SSL EEM | NR AW</a:t>
            </a:r>
            <a:endParaRPr lang="ru-RU"/>
          </a:p>
        </p:txBody>
      </p:sp>
      <p:graphicFrame>
        <p:nvGraphicFramePr>
          <p:cNvPr id="134241" name="Group 97"/>
          <p:cNvGraphicFramePr>
            <a:graphicFrameLocks noGrp="1"/>
          </p:cNvGraphicFramePr>
          <p:nvPr/>
        </p:nvGraphicFramePr>
        <p:xfrm>
          <a:off x="539750" y="2133600"/>
          <a:ext cx="8064500" cy="3831911"/>
        </p:xfrm>
        <a:graphic>
          <a:graphicData uri="http://schemas.openxmlformats.org/drawingml/2006/table">
            <a:tbl>
              <a:tblPr/>
              <a:tblGrid>
                <a:gridCol w="11811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302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683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328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6201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1122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4772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4772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5270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endParaRPr kumimoji="0" lang="en-US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AD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Голубой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7B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иний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Истинный зеленый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CC3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Желтый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Янтарный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Красный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Гипер-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красный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Дальний</a:t>
                      </a: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/>
                      </a:r>
                      <a:b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</a:b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красный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00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05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endParaRPr kumimoji="0" lang="en-US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AD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LB CPDP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LD CQxP</a:t>
                      </a:r>
                      <a:endParaRPr kumimoji="0" lang="ru-RU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LT CPxP</a:t>
                      </a:r>
                      <a:endParaRPr kumimoji="0" lang="ru-RU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LY CP7P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LA CPxP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LR CPxP</a:t>
                      </a:r>
                      <a:endParaRPr kumimoji="0" lang="ru-RU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LH CPxP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GF CSxPM1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86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реобладающая длина волны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AD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464...476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449...461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513...537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583...595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612...624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620...632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646...666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730 (пиковая)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05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Угол обзора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AD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50°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80°/150°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80°/150°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80°/150°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80°/150°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80°/150°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80°/150°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80°/150°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56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th (тип.)</a:t>
                      </a:r>
                      <a:endParaRPr kumimoji="0" lang="ru-RU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AD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7 К/Вт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7 К/Вт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7 К/Вт</a:t>
                      </a:r>
                      <a:endParaRPr kumimoji="0" lang="ru-RU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7 К/Вт</a:t>
                      </a:r>
                      <a:endParaRPr kumimoji="0" lang="ru-RU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7 К/Вт</a:t>
                      </a:r>
                      <a:endParaRPr kumimoji="0" lang="ru-RU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7 К/Вт</a:t>
                      </a:r>
                      <a:endParaRPr kumimoji="0" lang="ru-RU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7 К/Вт</a:t>
                      </a:r>
                      <a:endParaRPr kumimoji="0" lang="ru-RU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7 К/Вт</a:t>
                      </a:r>
                      <a:endParaRPr kumimoji="0" lang="ru-RU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Макс. ток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AD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 А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 А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 А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 А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 А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 А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 А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0,7 А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699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f (тип.)</a:t>
                      </a:r>
                      <a:endParaRPr kumimoji="0" lang="ru-RU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AD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,1 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(при токе 350 мА)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,1 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(при токе 350 мА)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,2 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(при токе 350 мА)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,25 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(при токе 350 мА)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,20 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(при токе 350 мА)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,15 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(при токе 350 мА)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,10 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(при токе 350 мА)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,85 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(при токе 350 мА)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D2B6">
                        <a:alpha val="49803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34234" name="Titel 1"/>
          <p:cNvSpPr>
            <a:spLocks noGrp="1"/>
          </p:cNvSpPr>
          <p:nvPr>
            <p:ph type="title"/>
          </p:nvPr>
        </p:nvSpPr>
        <p:spPr>
          <a:xfrm>
            <a:off x="539750" y="298450"/>
            <a:ext cx="8064500" cy="814388"/>
          </a:xfrm>
        </p:spPr>
        <p:txBody>
          <a:bodyPr/>
          <a:lstStyle/>
          <a:p>
            <a:r>
              <a:rPr lang="ru-RU" smtClean="0"/>
              <a:t>Растениеводческое освещение </a:t>
            </a:r>
            <a:br>
              <a:rPr lang="ru-RU" smtClean="0"/>
            </a:br>
            <a:r>
              <a:rPr lang="ru-RU" smtClean="0"/>
              <a:t>Обзор текущего ассортимента </a:t>
            </a:r>
          </a:p>
        </p:txBody>
      </p:sp>
      <p:sp>
        <p:nvSpPr>
          <p:cNvPr id="134235" name="Rechteck 20"/>
          <p:cNvSpPr>
            <a:spLocks noChangeArrowheads="1"/>
          </p:cNvSpPr>
          <p:nvPr/>
        </p:nvSpPr>
        <p:spPr bwMode="auto">
          <a:xfrm>
            <a:off x="539750" y="1196975"/>
            <a:ext cx="8064500" cy="896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10000"/>
              </a:lnSpc>
            </a:pPr>
            <a:r>
              <a:rPr lang="en-US" sz="1600" b="1">
                <a:solidFill>
                  <a:schemeClr val="accent2"/>
                </a:solidFill>
              </a:rPr>
              <a:t>Проверенная временем линейка светодиодов OSLON SSL с длинами волн излучения 450 и 660 нм</a:t>
            </a:r>
            <a:r>
              <a:rPr lang="ru-RU" sz="1600" b="1">
                <a:solidFill>
                  <a:schemeClr val="accent2"/>
                </a:solidFill>
              </a:rPr>
              <a:t> </a:t>
            </a:r>
            <a:r>
              <a:rPr lang="en-US" sz="1600" b="1">
                <a:solidFill>
                  <a:schemeClr val="accent2"/>
                </a:solidFill>
              </a:rPr>
              <a:t>и специально приспособленными углами обзора — 80° и 150°</a:t>
            </a:r>
          </a:p>
        </p:txBody>
      </p:sp>
      <p:pic>
        <p:nvPicPr>
          <p:cNvPr id="12" name="Рисунок 11">
            <a:hlinkClick r:id="rId3"/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453336"/>
            <a:ext cx="2526984" cy="29841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93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mtClean="0"/>
              <a:t>OSLON</a:t>
            </a:r>
            <a:r>
              <a:rPr lang="en-US" baseline="30000" smtClean="0"/>
              <a:t>®</a:t>
            </a:r>
            <a:r>
              <a:rPr lang="ru-RU" smtClean="0"/>
              <a:t> SSL </a:t>
            </a:r>
          </a:p>
        </p:txBody>
      </p:sp>
      <p:sp>
        <p:nvSpPr>
          <p:cNvPr id="136194" name="Untertitel 2"/>
          <p:cNvSpPr>
            <a:spLocks noGrp="1"/>
          </p:cNvSpPr>
          <p:nvPr>
            <p:ph type="subTitle" idx="1"/>
          </p:nvPr>
        </p:nvSpPr>
        <p:spPr/>
        <p:txBody>
          <a:bodyPr anchor="t"/>
          <a:lstStyle/>
          <a:p>
            <a:pPr marL="0" indent="0"/>
            <a:r>
              <a:rPr lang="ru-RU" smtClean="0"/>
              <a:t>451 нм</a:t>
            </a:r>
          </a:p>
        </p:txBody>
      </p:sp>
      <p:pic>
        <p:nvPicPr>
          <p:cNvPr id="136195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16463" y="2997200"/>
            <a:ext cx="1841500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Рисунок 4">
            <a:hlinkClick r:id="rId3"/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4445258"/>
            <a:ext cx="1080120" cy="1432014"/>
          </a:xfrm>
          <a:prstGeom prst="rect">
            <a:avLst/>
          </a:prstGeom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750" y="1357313"/>
            <a:ext cx="4032250" cy="4808537"/>
          </a:xfrm>
        </p:spPr>
        <p:txBody>
          <a:bodyPr/>
          <a:lstStyle/>
          <a:p>
            <a:pPr marL="0" indent="0" eaLnBrk="0" hangingPunct="0">
              <a:defRPr/>
            </a:pPr>
            <a:r>
              <a:rPr lang="de-DE" dirty="0" smtClean="0">
                <a:solidFill>
                  <a:srgbClr val="58585A"/>
                </a:solidFill>
              </a:rPr>
              <a:t>LD CQ7P (80°)</a:t>
            </a:r>
          </a:p>
          <a:p>
            <a:pPr marL="0" indent="0" eaLnBrk="0" hangingPunct="0">
              <a:defRPr/>
            </a:pPr>
            <a:r>
              <a:rPr lang="de-DE" dirty="0" smtClean="0">
                <a:solidFill>
                  <a:srgbClr val="58585A"/>
                </a:solidFill>
              </a:rPr>
              <a:t>LD CQDP (150°)</a:t>
            </a:r>
            <a:endParaRPr lang="ru-RU" dirty="0" smtClean="0">
              <a:solidFill>
                <a:srgbClr val="58585A"/>
              </a:solidFill>
            </a:endParaRPr>
          </a:p>
          <a:p>
            <a:pPr marL="0" indent="0">
              <a:defRPr/>
            </a:pPr>
            <a:endParaRPr lang="ru-RU" sz="1500" b="0" dirty="0" smtClean="0">
              <a:solidFill>
                <a:srgbClr val="FF6600"/>
              </a:solidFill>
              <a:latin typeface="+mj-lt"/>
              <a:cs typeface="Arial" charset="0"/>
            </a:endParaRPr>
          </a:p>
          <a:p>
            <a:pPr marL="0" indent="0">
              <a:defRPr/>
            </a:pPr>
            <a:r>
              <a:rPr lang="en-US" sz="1500" b="0" dirty="0" smtClean="0">
                <a:solidFill>
                  <a:schemeClr val="tx1"/>
                </a:solidFill>
                <a:latin typeface="+mj-lt"/>
              </a:rPr>
              <a:t>Продукт выпущен в продажу</a:t>
            </a:r>
          </a:p>
          <a:p>
            <a:pPr marL="0" indent="0">
              <a:defRPr/>
            </a:pPr>
            <a:endParaRPr lang="ru-RU" sz="1500" b="0" dirty="0" smtClean="0">
              <a:solidFill>
                <a:srgbClr val="000000"/>
              </a:solidFill>
              <a:latin typeface="+mj-lt"/>
              <a:cs typeface="Arial" charset="0"/>
            </a:endParaRPr>
          </a:p>
          <a:p>
            <a:pPr marL="179388" indent="-179388">
              <a:spcBef>
                <a:spcPct val="30000"/>
              </a:spcBef>
              <a:tabLst>
                <a:tab pos="1790700" algn="l"/>
              </a:tabLst>
              <a:defRPr/>
            </a:pPr>
            <a:r>
              <a:rPr lang="en-US" sz="1500" dirty="0" smtClean="0">
                <a:solidFill>
                  <a:schemeClr val="tx1"/>
                </a:solidFill>
                <a:latin typeface="+mj-lt"/>
              </a:rPr>
              <a:t>Основные особенности</a:t>
            </a:r>
          </a:p>
          <a:p>
            <a:pPr marL="179388" indent="-179388">
              <a:spcBef>
                <a:spcPct val="30000"/>
              </a:spcBef>
              <a:buFont typeface="Arial" pitchFamily="34" charset="0"/>
              <a:buChar char="•"/>
              <a:tabLst>
                <a:tab pos="1790700" algn="l"/>
              </a:tabLst>
              <a:defRPr/>
            </a:pPr>
            <a:r>
              <a:rPr lang="el-GR" sz="1500" b="0" dirty="0" smtClean="0">
                <a:solidFill>
                  <a:srgbClr val="000000"/>
                </a:solidFill>
                <a:latin typeface="Calibri"/>
              </a:rPr>
              <a:t>λ </a:t>
            </a:r>
            <a:r>
              <a:rPr lang="en-US" sz="1500" b="0" baseline="-25000" dirty="0" smtClean="0">
                <a:solidFill>
                  <a:schemeClr val="tx1"/>
                </a:solidFill>
              </a:rPr>
              <a:t>peak</a:t>
            </a:r>
            <a:r>
              <a:rPr dirty="0" smtClean="0"/>
              <a:t> = </a:t>
            </a:r>
            <a:r>
              <a:rPr lang="en-US" sz="1500" b="0" dirty="0" smtClean="0">
                <a:solidFill>
                  <a:schemeClr val="tx1"/>
                </a:solidFill>
              </a:rPr>
              <a:t>451 нм</a:t>
            </a:r>
          </a:p>
          <a:p>
            <a:pPr marL="179388" indent="-179388">
              <a:spcBef>
                <a:spcPct val="30000"/>
              </a:spcBef>
              <a:buFont typeface="Arial" pitchFamily="34" charset="0"/>
              <a:buChar char="•"/>
              <a:tabLst>
                <a:tab pos="1790700" algn="l"/>
              </a:tabLst>
              <a:defRPr/>
            </a:pPr>
            <a:r>
              <a:rPr lang="en-US" sz="1500" b="0" dirty="0" smtClean="0">
                <a:solidFill>
                  <a:schemeClr val="tx1"/>
                </a:solidFill>
                <a:latin typeface="+mj-lt"/>
              </a:rPr>
              <a:t>Низкое тепловое сопротивление — 4,6 К/Вт</a:t>
            </a:r>
          </a:p>
          <a:p>
            <a:pPr marL="179388" indent="-179388">
              <a:spcBef>
                <a:spcPct val="30000"/>
              </a:spcBef>
              <a:buFont typeface="Arial" pitchFamily="34" charset="0"/>
              <a:buChar char="•"/>
              <a:tabLst>
                <a:tab pos="1790700" algn="l"/>
              </a:tabLst>
              <a:defRPr/>
            </a:pPr>
            <a:r>
              <a:rPr lang="en-US" sz="1500" b="0" dirty="0" smtClean="0">
                <a:solidFill>
                  <a:schemeClr val="tx1"/>
                </a:solidFill>
                <a:latin typeface="+mj-lt"/>
              </a:rPr>
              <a:t>Рабочий ток до 1 А</a:t>
            </a:r>
          </a:p>
          <a:p>
            <a:pPr marL="179388" indent="-179388">
              <a:spcBef>
                <a:spcPct val="30000"/>
              </a:spcBef>
              <a:buFont typeface="Arial" pitchFamily="34" charset="0"/>
              <a:buChar char="•"/>
              <a:tabLst>
                <a:tab pos="1790700" algn="l"/>
              </a:tabLst>
              <a:defRPr/>
            </a:pPr>
            <a:r>
              <a:rPr lang="en-US" sz="1500" b="0" dirty="0" smtClean="0">
                <a:solidFill>
                  <a:schemeClr val="tx1"/>
                </a:solidFill>
                <a:latin typeface="+mj-lt"/>
              </a:rPr>
              <a:t>Высоконадежный и высокоэффективный светодиод с превосходной стойкостью к коррозии</a:t>
            </a:r>
          </a:p>
          <a:p>
            <a:pPr marL="0" indent="0">
              <a:defRPr/>
            </a:pPr>
            <a:r>
              <a:rPr dirty="0" smtClean="0"/>
              <a:t> </a:t>
            </a:r>
          </a:p>
          <a:p>
            <a:pPr marL="0" indent="0">
              <a:defRPr/>
            </a:pPr>
            <a:endParaRPr lang="ru-RU" dirty="0" smtClean="0">
              <a:solidFill>
                <a:srgbClr val="58585A"/>
              </a:solidFill>
              <a:cs typeface="Arial" charset="0"/>
            </a:endParaRPr>
          </a:p>
          <a:p>
            <a:pPr marL="0" indent="0">
              <a:defRPr/>
            </a:pPr>
            <a:endParaRPr lang="ru-RU" dirty="0" smtClean="0">
              <a:solidFill>
                <a:srgbClr val="58585A"/>
              </a:solidFill>
              <a:cs typeface="Arial" charset="0"/>
            </a:endParaRPr>
          </a:p>
          <a:p>
            <a:pPr marL="0" indent="0">
              <a:defRPr/>
            </a:pPr>
            <a:endParaRPr lang="ru-RU" dirty="0" smtClean="0">
              <a:solidFill>
                <a:srgbClr val="58585A"/>
              </a:solidFill>
              <a:cs typeface="Arial" charset="0"/>
            </a:endParaRPr>
          </a:p>
          <a:p>
            <a:pPr marL="0" indent="0">
              <a:defRPr/>
            </a:pPr>
            <a:endParaRPr lang="ru-RU" dirty="0">
              <a:solidFill>
                <a:srgbClr val="58585A"/>
              </a:solidFill>
              <a:cs typeface="Arial" charset="0"/>
            </a:endParaRPr>
          </a:p>
        </p:txBody>
      </p:sp>
      <p:sp>
        <p:nvSpPr>
          <p:cNvPr id="137218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82322CC0-7816-4E9A-8607-F802BDB05648}" type="slidenum">
              <a:rPr lang="de-DE"/>
              <a:pPr/>
              <a:t>28</a:t>
            </a:fld>
            <a:endParaRPr lang="ru-RU"/>
          </a:p>
        </p:txBody>
      </p:sp>
      <p:sp>
        <p:nvSpPr>
          <p:cNvPr id="137219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Растениеводческое освещение </a:t>
            </a:r>
            <a:br>
              <a:rPr lang="ru-RU" smtClean="0"/>
            </a:br>
            <a:r>
              <a:rPr lang="ru-RU" smtClean="0"/>
              <a:t>OSLON</a:t>
            </a:r>
            <a:r>
              <a:rPr lang="de-DE" baseline="30000" smtClean="0"/>
              <a:t>®</a:t>
            </a:r>
            <a:r>
              <a:rPr lang="ru-RU" smtClean="0"/>
              <a:t> SSL </a:t>
            </a:r>
            <a:br>
              <a:rPr lang="ru-RU" smtClean="0"/>
            </a:br>
            <a:endParaRPr lang="ru-RU" smtClean="0"/>
          </a:p>
        </p:txBody>
      </p:sp>
      <p:sp>
        <p:nvSpPr>
          <p:cNvPr id="18" name="Rectangle 20"/>
          <p:cNvSpPr>
            <a:spLocks noChangeArrowheads="1"/>
          </p:cNvSpPr>
          <p:nvPr/>
        </p:nvSpPr>
        <p:spPr bwMode="gray">
          <a:xfrm>
            <a:off x="4787900" y="2773363"/>
            <a:ext cx="3960813" cy="1743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79388" indent="-179388">
              <a:spcBef>
                <a:spcPct val="30000"/>
              </a:spcBef>
              <a:buFont typeface="Symbol" pitchFamily="18" charset="2"/>
              <a:buNone/>
              <a:tabLst>
                <a:tab pos="1790700" algn="l"/>
              </a:tabLst>
            </a:pPr>
            <a:r>
              <a:rPr lang="ru-RU" sz="1500" b="1">
                <a:solidFill>
                  <a:srgbClr val="000000"/>
                </a:solidFill>
              </a:rPr>
              <a:t>Преимущества</a:t>
            </a:r>
            <a:r>
              <a:rPr lang="en-US" sz="1500" b="1">
                <a:solidFill>
                  <a:srgbClr val="000000"/>
                </a:solidFill>
              </a:rPr>
              <a:t> 	</a:t>
            </a:r>
            <a:r>
              <a:rPr lang="en-US"/>
              <a:t>	</a:t>
            </a:r>
          </a:p>
          <a:p>
            <a:pPr marL="179388" indent="-179388">
              <a:spcBef>
                <a:spcPct val="30000"/>
              </a:spcBef>
              <a:buFont typeface="Arial" charset="0"/>
              <a:buChar char="•"/>
              <a:tabLst>
                <a:tab pos="1790700" algn="l"/>
              </a:tabLst>
            </a:pPr>
            <a:r>
              <a:rPr lang="en-US" sz="1500">
                <a:solidFill>
                  <a:srgbClr val="000000"/>
                </a:solidFill>
              </a:rPr>
              <a:t>Полная обратная совместимость с компонентами семейства OSLON SSL</a:t>
            </a:r>
          </a:p>
          <a:p>
            <a:pPr marL="179388" indent="-179388">
              <a:spcBef>
                <a:spcPct val="30000"/>
              </a:spcBef>
              <a:buFont typeface="Arial" charset="0"/>
              <a:buChar char="•"/>
              <a:tabLst>
                <a:tab pos="1790700" algn="l"/>
              </a:tabLst>
            </a:pPr>
            <a:r>
              <a:rPr lang="en-US" sz="1500">
                <a:solidFill>
                  <a:srgbClr val="000000"/>
                </a:solidFill>
              </a:rPr>
              <a:t>Углы обзора 80° и 150°</a:t>
            </a:r>
            <a:endParaRPr lang="ru-RU" sz="1500">
              <a:solidFill>
                <a:srgbClr val="000000"/>
              </a:solidFill>
            </a:endParaRPr>
          </a:p>
          <a:p>
            <a:pPr marL="179388" indent="-179388">
              <a:spcBef>
                <a:spcPct val="30000"/>
              </a:spcBef>
              <a:buFont typeface="Arial" charset="0"/>
              <a:buChar char="•"/>
              <a:tabLst>
                <a:tab pos="1790700" algn="l"/>
              </a:tabLst>
            </a:pPr>
            <a:r>
              <a:rPr lang="en-US" sz="1500">
                <a:solidFill>
                  <a:srgbClr val="000000"/>
                </a:solidFill>
              </a:rPr>
              <a:t>Высокоэффективные и высоконадежные светодиоды, великолепно подходящие для растениеводческого освещения </a:t>
            </a:r>
          </a:p>
          <a:p>
            <a:pPr marL="179388" indent="-179388">
              <a:spcBef>
                <a:spcPct val="30000"/>
              </a:spcBef>
              <a:buFont typeface="Arial" charset="0"/>
              <a:buChar char="•"/>
              <a:tabLst>
                <a:tab pos="1790700" algn="l"/>
              </a:tabLst>
            </a:pPr>
            <a:endParaRPr lang="ru-RU" sz="1500">
              <a:solidFill>
                <a:srgbClr val="000000"/>
              </a:solidFill>
            </a:endParaRPr>
          </a:p>
          <a:p>
            <a:pPr marL="179388" indent="-179388">
              <a:spcBef>
                <a:spcPct val="30000"/>
              </a:spcBef>
              <a:buFont typeface="Symbol" pitchFamily="18" charset="2"/>
              <a:buNone/>
              <a:tabLst>
                <a:tab pos="1790700" algn="l"/>
              </a:tabLst>
            </a:pPr>
            <a:endParaRPr lang="ru-RU" sz="150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137221" name="Footer Placeholder 4"/>
          <p:cNvSpPr>
            <a:spLocks noGrp="1"/>
          </p:cNvSpPr>
          <p:nvPr>
            <p:ph type="ftr" sz="quarter" idx="11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US"/>
              <a:t>OSRAM Opto Semiconductors| февраль 2015 г.</a:t>
            </a:r>
            <a:endParaRPr lang="ru-RU"/>
          </a:p>
        </p:txBody>
      </p:sp>
      <p:sp>
        <p:nvSpPr>
          <p:cNvPr id="137222" name="Date Placeholder 3"/>
          <p:cNvSpPr>
            <a:spLocks noGrp="1"/>
          </p:cNvSpPr>
          <p:nvPr>
            <p:ph type="dt" sz="quarter" idx="10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de-DE"/>
              <a:t>Светодиодное растениеводческое освещение | OS SSL EEM | NR AW</a:t>
            </a:r>
            <a:endParaRPr lang="ru-RU"/>
          </a:p>
        </p:txBody>
      </p:sp>
      <p:graphicFrame>
        <p:nvGraphicFramePr>
          <p:cNvPr id="10" name="Tabelle 6"/>
          <p:cNvGraphicFramePr>
            <a:graphicFrameLocks noGrp="1"/>
          </p:cNvGraphicFramePr>
          <p:nvPr/>
        </p:nvGraphicFramePr>
        <p:xfrm>
          <a:off x="547688" y="5084763"/>
          <a:ext cx="7794409" cy="1127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26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5286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8196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020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2906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3539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004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2520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 smtClean="0"/>
                        <a:t>Значения параметров</a:t>
                      </a:r>
                      <a:r>
                        <a:t> </a:t>
                      </a:r>
                      <a:br/>
                      <a:r>
                        <a:rPr lang="en-US" sz="1100" noProof="0" dirty="0" smtClean="0"/>
                        <a:t>при 25 °C</a:t>
                      </a:r>
                    </a:p>
                  </a:txBody>
                  <a:tcPr anchor="ctr"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 smtClean="0"/>
                        <a:t>Ток</a:t>
                      </a:r>
                    </a:p>
                    <a:p>
                      <a:pPr algn="ctr"/>
                      <a:r>
                        <a:rPr lang="en-US" sz="1100" noProof="0" dirty="0" smtClean="0"/>
                        <a:t>бинирования</a:t>
                      </a:r>
                      <a:endParaRPr lang="ru-RU" sz="1100" noProof="0" dirty="0"/>
                    </a:p>
                  </a:txBody>
                  <a:tcPr anchor="ctr"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 smtClean="0"/>
                        <a:t>Макс.</a:t>
                      </a:r>
                    </a:p>
                    <a:p>
                      <a:pPr algn="ctr"/>
                      <a:r>
                        <a:rPr lang="en-US" sz="1100" noProof="0" dirty="0" smtClean="0"/>
                        <a:t>ток</a:t>
                      </a:r>
                      <a:endParaRPr lang="ru-RU" sz="1100" noProof="0" dirty="0"/>
                    </a:p>
                  </a:txBody>
                  <a:tcPr anchor="ctr"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 smtClean="0"/>
                        <a:t>Угол</a:t>
                      </a:r>
                      <a:r>
                        <a:t/>
                      </a:r>
                      <a:br/>
                      <a:r>
                        <a:rPr lang="en-US" sz="1100" noProof="0" dirty="0" smtClean="0"/>
                        <a:t>обзора</a:t>
                      </a:r>
                      <a:endParaRPr lang="ru-RU" sz="1100" noProof="0" dirty="0"/>
                    </a:p>
                  </a:txBody>
                  <a:tcPr anchor="ctr"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 smtClean="0"/>
                        <a:t>Тип. </a:t>
                      </a:r>
                    </a:p>
                    <a:p>
                      <a:pPr algn="ctr"/>
                      <a:r>
                        <a:rPr lang="en-US" sz="1100" noProof="0" dirty="0" smtClean="0"/>
                        <a:t>поток излучения </a:t>
                      </a:r>
                    </a:p>
                  </a:txBody>
                  <a:tcPr anchor="ctr"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 smtClean="0"/>
                        <a:t>Тип. прямое</a:t>
                      </a:r>
                    </a:p>
                    <a:p>
                      <a:pPr algn="ctr"/>
                      <a:r>
                        <a:rPr lang="en-US" sz="1100" noProof="0" dirty="0" smtClean="0"/>
                        <a:t>напряжение</a:t>
                      </a:r>
                      <a:endParaRPr lang="ru-RU" sz="1100" noProof="0" dirty="0"/>
                    </a:p>
                  </a:txBody>
                  <a:tcPr anchor="ctr"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 smtClean="0"/>
                        <a:t>Тип. КПД</a:t>
                      </a:r>
                    </a:p>
                    <a:p>
                      <a:pPr algn="ctr"/>
                      <a:r>
                        <a:rPr lang="en-US" sz="1100" noProof="0" dirty="0" smtClean="0"/>
                        <a:t>источника излучения</a:t>
                      </a:r>
                      <a:endParaRPr lang="ru-RU" sz="1100" noProof="0" dirty="0"/>
                    </a:p>
                  </a:txBody>
                  <a:tcPr anchor="ctr">
                    <a:solidFill>
                      <a:srgbClr val="FF66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287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ym typeface="Wingdings 3" pitchFamily="18" charset="2"/>
                        </a:rPr>
                        <a:t>LD CQxP</a:t>
                      </a:r>
                      <a:endParaRPr lang="ru-RU" sz="1100" b="1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noProof="0" dirty="0" smtClean="0"/>
                        <a:t>350 мА</a:t>
                      </a:r>
                      <a:endParaRPr lang="ru-RU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noProof="0" dirty="0" smtClean="0"/>
                        <a:t>1000 мА</a:t>
                      </a:r>
                      <a:endParaRPr lang="ru-RU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 smtClean="0"/>
                        <a:t>80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°</a:t>
                      </a:r>
                      <a:r>
                        <a:rPr lang="en-US" sz="1100" noProof="0" dirty="0" smtClean="0"/>
                        <a:t> и 150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°</a:t>
                      </a:r>
                      <a:endParaRPr lang="ru-RU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 smtClean="0"/>
                        <a:t>600 мВт (350 мА)</a:t>
                      </a:r>
                    </a:p>
                    <a:p>
                      <a:pPr algn="ctr"/>
                      <a:r>
                        <a:rPr lang="en-US" sz="1100" noProof="0" dirty="0" smtClean="0">
                          <a:solidFill>
                            <a:schemeClr val="accent2"/>
                          </a:solidFill>
                        </a:rPr>
                        <a:t>1080 мВт (700 мА)</a:t>
                      </a:r>
                      <a:endParaRPr lang="ru-RU" sz="11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 smtClean="0"/>
                        <a:t>2,95 В (350 мА)</a:t>
                      </a:r>
                    </a:p>
                    <a:p>
                      <a:pPr algn="ctr"/>
                      <a:r>
                        <a:rPr lang="en-US" sz="1100" noProof="0" dirty="0" smtClean="0">
                          <a:solidFill>
                            <a:schemeClr val="accent2"/>
                          </a:solidFill>
                        </a:rPr>
                        <a:t>3,15 В (700 мА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 smtClean="0"/>
                        <a:t>59 % (350 мА)</a:t>
                      </a:r>
                    </a:p>
                    <a:p>
                      <a:pPr algn="ctr"/>
                      <a:r>
                        <a:rPr lang="en-US" sz="1100" noProof="0" dirty="0" smtClean="0">
                          <a:solidFill>
                            <a:schemeClr val="accent2"/>
                          </a:solidFill>
                        </a:rPr>
                        <a:t>48 % (700 мА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9" name="Рисунок 8">
            <a:hlinkClick r:id="rId2"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453336"/>
            <a:ext cx="2526984" cy="29841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241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mtClean="0"/>
              <a:t>OSLON</a:t>
            </a:r>
            <a:r>
              <a:rPr lang="en-US" baseline="30000" smtClean="0"/>
              <a:t>®</a:t>
            </a:r>
            <a:endParaRPr lang="ru-RU" smtClean="0"/>
          </a:p>
        </p:txBody>
      </p:sp>
      <p:sp>
        <p:nvSpPr>
          <p:cNvPr id="138242" name="Untertitel 2"/>
          <p:cNvSpPr>
            <a:spLocks noGrp="1"/>
          </p:cNvSpPr>
          <p:nvPr>
            <p:ph type="subTitle" idx="1"/>
          </p:nvPr>
        </p:nvSpPr>
        <p:spPr/>
        <p:txBody>
          <a:bodyPr anchor="t"/>
          <a:lstStyle/>
          <a:p>
            <a:pPr marL="0" indent="0"/>
            <a:r>
              <a:rPr lang="ru-RU" smtClean="0"/>
              <a:t>660 нм</a:t>
            </a:r>
          </a:p>
        </p:txBody>
      </p:sp>
      <p:pic>
        <p:nvPicPr>
          <p:cNvPr id="138243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356100" y="2852738"/>
            <a:ext cx="2078038" cy="158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Рисунок 4">
            <a:hlinkClick r:id="rId3"/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4445258"/>
            <a:ext cx="1080120" cy="1432014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5" name="Titel 1"/>
          <p:cNvSpPr>
            <a:spLocks noGrp="1"/>
          </p:cNvSpPr>
          <p:nvPr>
            <p:ph type="title"/>
          </p:nvPr>
        </p:nvSpPr>
        <p:spPr>
          <a:xfrm>
            <a:off x="539750" y="404813"/>
            <a:ext cx="8064500" cy="814387"/>
          </a:xfrm>
        </p:spPr>
        <p:txBody>
          <a:bodyPr/>
          <a:lstStyle/>
          <a:p>
            <a:r>
              <a:rPr lang="ru-RU" dirty="0" smtClean="0"/>
              <a:t>Растениеводческое освещение</a:t>
            </a:r>
            <a:br>
              <a:rPr lang="ru-RU" dirty="0" smtClean="0"/>
            </a:br>
            <a:r>
              <a:rPr lang="ru-RU" dirty="0" smtClean="0"/>
              <a:t>Что такое растениеводческое освещение и как оно применяется?</a:t>
            </a:r>
          </a:p>
        </p:txBody>
      </p:sp>
      <p:sp>
        <p:nvSpPr>
          <p:cNvPr id="103426" name="Inhaltsplatzhalter 2"/>
          <p:cNvSpPr>
            <a:spLocks noGrp="1"/>
          </p:cNvSpPr>
          <p:nvPr>
            <p:ph idx="1"/>
          </p:nvPr>
        </p:nvSpPr>
        <p:spPr>
          <a:xfrm>
            <a:off x="539750" y="1268413"/>
            <a:ext cx="4392613" cy="4681537"/>
          </a:xfrm>
        </p:spPr>
        <p:txBody>
          <a:bodyPr/>
          <a:lstStyle/>
          <a:p>
            <a:pPr marL="0" indent="0"/>
            <a:r>
              <a:rPr lang="ru-RU" sz="900" smtClean="0"/>
              <a:t> </a:t>
            </a:r>
          </a:p>
          <a:p>
            <a:pPr marL="182563" lvl="1" indent="-180975">
              <a:lnSpc>
                <a:spcPct val="100000"/>
              </a:lnSpc>
              <a:buFont typeface="Arial" charset="0"/>
              <a:buChar char="•"/>
            </a:pPr>
            <a:r>
              <a:rPr lang="ru-RU" smtClean="0"/>
              <a:t> </a:t>
            </a:r>
            <a:r>
              <a:rPr lang="en-US" sz="1800" b="1" smtClean="0">
                <a:solidFill>
                  <a:schemeClr val="accent2"/>
                </a:solidFill>
              </a:rPr>
              <a:t>Досвечивание</a:t>
            </a:r>
            <a:endParaRPr lang="ru-RU" sz="1600" b="1" smtClean="0">
              <a:solidFill>
                <a:schemeClr val="accent2"/>
              </a:solidFill>
              <a:cs typeface="Arial" charset="0"/>
            </a:endParaRPr>
          </a:p>
          <a:p>
            <a:pPr marL="182563" lvl="1" indent="-180975"/>
            <a:r>
              <a:rPr lang="en-US" sz="1600" smtClean="0"/>
              <a:t>	Дополняет естественный дневной свет и увеличивает освещенность культивируемых растений для повышения эффективности фотосинтеза, за счет чего улучшается рост и повышается качество растений в теплицах.</a:t>
            </a:r>
          </a:p>
          <a:p>
            <a:pPr marL="182563" lvl="1" indent="-180975"/>
            <a:endParaRPr lang="ru-RU" sz="900" smtClean="0">
              <a:cs typeface="Arial" charset="0"/>
            </a:endParaRPr>
          </a:p>
          <a:p>
            <a:pPr marL="182563" lvl="1" indent="-180975">
              <a:buFont typeface="Arial" charset="0"/>
              <a:buChar char="•"/>
            </a:pPr>
            <a:r>
              <a:rPr lang="en-US" sz="1800" b="1" smtClean="0">
                <a:solidFill>
                  <a:schemeClr val="accent2"/>
                </a:solidFill>
              </a:rPr>
              <a:t>Фотопериодическое освещение</a:t>
            </a:r>
          </a:p>
          <a:p>
            <a:pPr marL="182563" lvl="1" indent="-180975"/>
            <a:r>
              <a:rPr lang="en-US" sz="1600" smtClean="0"/>
              <a:t>	Продление светового периода с помощью искусственного освещения.</a:t>
            </a:r>
          </a:p>
          <a:p>
            <a:pPr marL="182563" lvl="1" indent="-180975">
              <a:buFont typeface="Arial" charset="0"/>
              <a:buChar char="•"/>
            </a:pPr>
            <a:endParaRPr lang="ru-RU" sz="900" smtClean="0">
              <a:cs typeface="Arial" charset="0"/>
            </a:endParaRPr>
          </a:p>
          <a:p>
            <a:pPr marL="182563" lvl="1" indent="-180975">
              <a:buFont typeface="Arial" charset="0"/>
              <a:buChar char="•"/>
            </a:pPr>
            <a:r>
              <a:rPr lang="en-US" sz="1800" b="1" smtClean="0">
                <a:solidFill>
                  <a:schemeClr val="accent2"/>
                </a:solidFill>
              </a:rPr>
              <a:t>Культивация в отсутствие дневного света</a:t>
            </a:r>
          </a:p>
          <a:p>
            <a:pPr marL="182563" lvl="1" indent="-180975"/>
            <a:r>
              <a:rPr lang="en-US" sz="1600" smtClean="0"/>
              <a:t>	Полная замена дневного света искусственным для максимально эффективного контроля над климатом.</a:t>
            </a:r>
          </a:p>
        </p:txBody>
      </p:sp>
      <p:pic>
        <p:nvPicPr>
          <p:cNvPr id="10342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72325" y="3860800"/>
            <a:ext cx="1431925" cy="2160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428" name="Picture 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78450" y="1412875"/>
            <a:ext cx="3225800" cy="2160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429" name="Picture 7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402263" y="3849688"/>
            <a:ext cx="1447800" cy="2171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Рисунок 8">
            <a:hlinkClick r:id="rId6"/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453336"/>
            <a:ext cx="2526984" cy="298413"/>
          </a:xfrm>
          <a:prstGeom prst="rect">
            <a:avLst/>
          </a:prstGeom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750" y="1357313"/>
            <a:ext cx="4032250" cy="4808537"/>
          </a:xfrm>
        </p:spPr>
        <p:txBody>
          <a:bodyPr/>
          <a:lstStyle/>
          <a:p>
            <a:pPr marL="0" indent="0" eaLnBrk="0" hangingPunct="0">
              <a:defRPr/>
            </a:pPr>
            <a:r>
              <a:rPr lang="de-DE" dirty="0" smtClean="0">
                <a:solidFill>
                  <a:srgbClr val="58585A"/>
                </a:solidFill>
              </a:rPr>
              <a:t>LH CP7P (80°)</a:t>
            </a:r>
          </a:p>
          <a:p>
            <a:pPr marL="0" indent="0" eaLnBrk="0" hangingPunct="0">
              <a:defRPr/>
            </a:pPr>
            <a:r>
              <a:rPr lang="de-DE" dirty="0" smtClean="0">
                <a:solidFill>
                  <a:srgbClr val="58585A"/>
                </a:solidFill>
              </a:rPr>
              <a:t>LH CPDP (150°)</a:t>
            </a:r>
            <a:endParaRPr lang="ru-RU" dirty="0" smtClean="0">
              <a:solidFill>
                <a:srgbClr val="58585A"/>
              </a:solidFill>
            </a:endParaRPr>
          </a:p>
          <a:p>
            <a:pPr marL="0" indent="0">
              <a:defRPr/>
            </a:pPr>
            <a:endParaRPr lang="ru-RU" sz="1500" b="0" dirty="0" smtClean="0">
              <a:solidFill>
                <a:srgbClr val="FF6600"/>
              </a:solidFill>
              <a:latin typeface="+mj-lt"/>
              <a:cs typeface="Arial" charset="0"/>
            </a:endParaRPr>
          </a:p>
          <a:p>
            <a:pPr marL="0" indent="0">
              <a:defRPr/>
            </a:pPr>
            <a:r>
              <a:rPr lang="en-US" sz="1500" b="0" dirty="0" smtClean="0">
                <a:solidFill>
                  <a:schemeClr val="tx1"/>
                </a:solidFill>
                <a:latin typeface="+mj-lt"/>
              </a:rPr>
              <a:t>Продукт выпущен в продажу</a:t>
            </a:r>
          </a:p>
          <a:p>
            <a:pPr marL="0" indent="0">
              <a:defRPr/>
            </a:pPr>
            <a:endParaRPr lang="ru-RU" sz="1500" b="0" dirty="0" smtClean="0">
              <a:solidFill>
                <a:srgbClr val="000000"/>
              </a:solidFill>
              <a:latin typeface="+mj-lt"/>
              <a:cs typeface="Arial" charset="0"/>
            </a:endParaRPr>
          </a:p>
          <a:p>
            <a:pPr marL="179388" indent="-179388">
              <a:spcBef>
                <a:spcPct val="30000"/>
              </a:spcBef>
              <a:tabLst>
                <a:tab pos="1790700" algn="l"/>
              </a:tabLst>
              <a:defRPr/>
            </a:pPr>
            <a:r>
              <a:rPr lang="en-US" sz="1500" dirty="0" smtClean="0">
                <a:solidFill>
                  <a:schemeClr val="tx1"/>
                </a:solidFill>
                <a:latin typeface="+mj-lt"/>
              </a:rPr>
              <a:t>Основные особенности</a:t>
            </a:r>
          </a:p>
          <a:p>
            <a:pPr marL="179388" indent="-179388">
              <a:spcBef>
                <a:spcPct val="30000"/>
              </a:spcBef>
              <a:buFont typeface="Arial" pitchFamily="34" charset="0"/>
              <a:buChar char="•"/>
              <a:tabLst>
                <a:tab pos="1790700" algn="l"/>
              </a:tabLst>
              <a:defRPr/>
            </a:pPr>
            <a:r>
              <a:rPr lang="el-GR" sz="1500" b="0" dirty="0" smtClean="0">
                <a:solidFill>
                  <a:schemeClr val="tx1"/>
                </a:solidFill>
                <a:latin typeface="Calibri"/>
              </a:rPr>
              <a:t>λ</a:t>
            </a:r>
            <a:r>
              <a:rPr lang="en-US" sz="1500" b="0" baseline="-25000" dirty="0" smtClean="0">
                <a:solidFill>
                  <a:schemeClr val="tx1"/>
                </a:solidFill>
                <a:latin typeface="+mj-lt"/>
              </a:rPr>
              <a:t>peak</a:t>
            </a:r>
            <a:r>
              <a:rPr lang="en-US" sz="1500" b="0" dirty="0" smtClean="0">
                <a:solidFill>
                  <a:schemeClr val="tx1"/>
                </a:solidFill>
                <a:latin typeface="+mj-lt"/>
              </a:rPr>
              <a:t> =  660 нм</a:t>
            </a:r>
          </a:p>
          <a:p>
            <a:pPr marL="179388" indent="-179388">
              <a:spcBef>
                <a:spcPct val="30000"/>
              </a:spcBef>
              <a:buFont typeface="Arial" pitchFamily="34" charset="0"/>
              <a:buChar char="•"/>
              <a:tabLst>
                <a:tab pos="1790700" algn="l"/>
              </a:tabLst>
              <a:defRPr/>
            </a:pPr>
            <a:r>
              <a:rPr lang="en-US" sz="1500" b="0" dirty="0" smtClean="0">
                <a:solidFill>
                  <a:schemeClr val="tx1"/>
                </a:solidFill>
                <a:latin typeface="+mj-lt"/>
              </a:rPr>
              <a:t>Низкое тепловое сопротивление — 4,8 К/Вт</a:t>
            </a:r>
          </a:p>
          <a:p>
            <a:pPr marL="179388" indent="-179388">
              <a:spcBef>
                <a:spcPct val="30000"/>
              </a:spcBef>
              <a:buFont typeface="Arial" pitchFamily="34" charset="0"/>
              <a:buChar char="•"/>
              <a:tabLst>
                <a:tab pos="1790700" algn="l"/>
              </a:tabLst>
              <a:defRPr/>
            </a:pPr>
            <a:r>
              <a:rPr lang="en-US" sz="1500" b="0" dirty="0" smtClean="0">
                <a:solidFill>
                  <a:schemeClr val="tx1"/>
                </a:solidFill>
                <a:latin typeface="+mj-lt"/>
              </a:rPr>
              <a:t>Рабочий ток до 1 А</a:t>
            </a:r>
          </a:p>
          <a:p>
            <a:pPr marL="179388" indent="-179388">
              <a:spcBef>
                <a:spcPct val="30000"/>
              </a:spcBef>
              <a:buFont typeface="Arial" pitchFamily="34" charset="0"/>
              <a:buChar char="•"/>
              <a:tabLst>
                <a:tab pos="1790700" algn="l"/>
              </a:tabLst>
              <a:defRPr/>
            </a:pPr>
            <a:r>
              <a:rPr lang="en-US" sz="1500" b="0" dirty="0" smtClean="0">
                <a:solidFill>
                  <a:schemeClr val="tx1"/>
                </a:solidFill>
                <a:latin typeface="+mj-lt"/>
              </a:rPr>
              <a:t>Высоконадежный и высокоэффективный светодиод с превосходной стойкостью к коррозии</a:t>
            </a:r>
          </a:p>
          <a:p>
            <a:pPr marL="0" indent="0">
              <a:defRPr/>
            </a:pPr>
            <a:r>
              <a:rPr dirty="0" smtClean="0"/>
              <a:t> </a:t>
            </a:r>
          </a:p>
          <a:p>
            <a:pPr marL="0" indent="0">
              <a:defRPr/>
            </a:pPr>
            <a:endParaRPr lang="ru-RU" dirty="0" smtClean="0">
              <a:solidFill>
                <a:srgbClr val="58585A"/>
              </a:solidFill>
              <a:cs typeface="Arial" charset="0"/>
            </a:endParaRPr>
          </a:p>
          <a:p>
            <a:pPr marL="0" indent="0">
              <a:defRPr/>
            </a:pPr>
            <a:endParaRPr lang="ru-RU" dirty="0" smtClean="0">
              <a:solidFill>
                <a:srgbClr val="58585A"/>
              </a:solidFill>
              <a:cs typeface="Arial" charset="0"/>
            </a:endParaRPr>
          </a:p>
          <a:p>
            <a:pPr marL="0" indent="0">
              <a:defRPr/>
            </a:pPr>
            <a:endParaRPr lang="ru-RU" dirty="0" smtClean="0">
              <a:solidFill>
                <a:srgbClr val="58585A"/>
              </a:solidFill>
              <a:cs typeface="Arial" charset="0"/>
            </a:endParaRPr>
          </a:p>
          <a:p>
            <a:pPr marL="0" indent="0">
              <a:defRPr/>
            </a:pPr>
            <a:endParaRPr lang="ru-RU" dirty="0">
              <a:solidFill>
                <a:srgbClr val="58585A"/>
              </a:solidFill>
              <a:cs typeface="Arial" charset="0"/>
            </a:endParaRPr>
          </a:p>
        </p:txBody>
      </p:sp>
      <p:sp>
        <p:nvSpPr>
          <p:cNvPr id="13926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FDB2CFE2-003E-4890-AD45-DBD14B8451E6}" type="slidenum">
              <a:rPr lang="de-DE"/>
              <a:pPr/>
              <a:t>30</a:t>
            </a:fld>
            <a:endParaRPr lang="ru-RU"/>
          </a:p>
        </p:txBody>
      </p:sp>
      <p:sp>
        <p:nvSpPr>
          <p:cNvPr id="139267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Растениеводческое освещение </a:t>
            </a:r>
            <a:br>
              <a:rPr lang="ru-RU" smtClean="0"/>
            </a:br>
            <a:r>
              <a:rPr lang="ru-RU" smtClean="0"/>
              <a:t>OSLON</a:t>
            </a:r>
            <a:r>
              <a:rPr lang="de-DE" baseline="30000" smtClean="0"/>
              <a:t>®</a:t>
            </a:r>
            <a:r>
              <a:rPr lang="ru-RU" smtClean="0"/>
              <a:t> SSL </a:t>
            </a:r>
            <a:br>
              <a:rPr lang="ru-RU" smtClean="0"/>
            </a:br>
            <a:endParaRPr lang="ru-RU" smtClean="0"/>
          </a:p>
        </p:txBody>
      </p:sp>
      <p:graphicFrame>
        <p:nvGraphicFramePr>
          <p:cNvPr id="8" name="Tabelle 6"/>
          <p:cNvGraphicFramePr>
            <a:graphicFrameLocks noGrp="1"/>
          </p:cNvGraphicFramePr>
          <p:nvPr/>
        </p:nvGraphicFramePr>
        <p:xfrm>
          <a:off x="547688" y="5084763"/>
          <a:ext cx="7716622" cy="1127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26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5286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8196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020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5128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3539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004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2520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 smtClean="0"/>
                        <a:t>Значения параметров</a:t>
                      </a:r>
                      <a:r>
                        <a:t> </a:t>
                      </a:r>
                      <a:br/>
                      <a:r>
                        <a:rPr lang="en-US" sz="1100" noProof="0" dirty="0" smtClean="0"/>
                        <a:t>при 25 °C</a:t>
                      </a:r>
                    </a:p>
                  </a:txBody>
                  <a:tcPr anchor="ctr"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 smtClean="0"/>
                        <a:t>Ток</a:t>
                      </a:r>
                    </a:p>
                    <a:p>
                      <a:pPr algn="ctr"/>
                      <a:r>
                        <a:rPr lang="en-US" sz="1100" noProof="0" dirty="0" smtClean="0"/>
                        <a:t>бинирования</a:t>
                      </a:r>
                      <a:endParaRPr lang="ru-RU" sz="1100" noProof="0" dirty="0"/>
                    </a:p>
                  </a:txBody>
                  <a:tcPr anchor="ctr"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 smtClean="0"/>
                        <a:t>Макс.</a:t>
                      </a:r>
                    </a:p>
                    <a:p>
                      <a:pPr algn="ctr"/>
                      <a:r>
                        <a:rPr lang="en-US" sz="1100" noProof="0" dirty="0" smtClean="0"/>
                        <a:t>ток</a:t>
                      </a:r>
                      <a:endParaRPr lang="ru-RU" sz="1100" noProof="0" dirty="0"/>
                    </a:p>
                  </a:txBody>
                  <a:tcPr anchor="ctr"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 smtClean="0"/>
                        <a:t>Угол</a:t>
                      </a:r>
                      <a:r>
                        <a:t/>
                      </a:r>
                      <a:br/>
                      <a:r>
                        <a:rPr lang="en-US" sz="1100" noProof="0" dirty="0" smtClean="0"/>
                        <a:t>обзора</a:t>
                      </a:r>
                      <a:endParaRPr lang="ru-RU" sz="1100" noProof="0" dirty="0"/>
                    </a:p>
                  </a:txBody>
                  <a:tcPr anchor="ctr"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 smtClean="0"/>
                        <a:t>Тип. </a:t>
                      </a:r>
                    </a:p>
                    <a:p>
                      <a:pPr algn="ctr"/>
                      <a:r>
                        <a:rPr lang="en-US" sz="1100" noProof="0" dirty="0" smtClean="0"/>
                        <a:t>поток излучения </a:t>
                      </a:r>
                    </a:p>
                  </a:txBody>
                  <a:tcPr anchor="ctr"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 smtClean="0"/>
                        <a:t>Тип. прямое</a:t>
                      </a:r>
                    </a:p>
                    <a:p>
                      <a:pPr algn="ctr"/>
                      <a:r>
                        <a:rPr lang="en-US" sz="1100" noProof="0" dirty="0" smtClean="0"/>
                        <a:t>напряжение</a:t>
                      </a:r>
                      <a:endParaRPr lang="ru-RU" sz="1100" noProof="0" dirty="0"/>
                    </a:p>
                  </a:txBody>
                  <a:tcPr anchor="ctr"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 smtClean="0"/>
                        <a:t>Тип. КПД</a:t>
                      </a:r>
                    </a:p>
                    <a:p>
                      <a:pPr algn="ctr"/>
                      <a:r>
                        <a:rPr lang="en-US" sz="1100" noProof="0" dirty="0" smtClean="0"/>
                        <a:t>источника излучения</a:t>
                      </a:r>
                      <a:endParaRPr lang="ru-RU" sz="1100" noProof="0" dirty="0"/>
                    </a:p>
                  </a:txBody>
                  <a:tcPr anchor="ctr">
                    <a:solidFill>
                      <a:srgbClr val="FF66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287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ym typeface="Wingdings 3" pitchFamily="18" charset="2"/>
                        </a:rPr>
                        <a:t>LH CPxP</a:t>
                      </a:r>
                      <a:endParaRPr lang="ru-RU" sz="1100" b="1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noProof="0" dirty="0" smtClean="0"/>
                        <a:t>350 мА</a:t>
                      </a:r>
                      <a:endParaRPr lang="ru-RU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noProof="0" dirty="0" smtClean="0"/>
                        <a:t>1000 мА</a:t>
                      </a:r>
                      <a:endParaRPr lang="ru-RU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 smtClean="0"/>
                        <a:t>80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°</a:t>
                      </a:r>
                      <a:r>
                        <a:rPr lang="en-US" sz="1100" noProof="0" dirty="0" smtClean="0"/>
                        <a:t> и 150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°</a:t>
                      </a:r>
                      <a:endParaRPr lang="ru-RU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 smtClean="0"/>
                        <a:t>365 мВт (350 мА)</a:t>
                      </a:r>
                    </a:p>
                    <a:p>
                      <a:pPr algn="ctr"/>
                      <a:r>
                        <a:rPr lang="en-US" sz="1100" noProof="0" dirty="0" smtClean="0">
                          <a:solidFill>
                            <a:schemeClr val="accent2"/>
                          </a:solidFill>
                        </a:rPr>
                        <a:t>709 мВт (700 мА)</a:t>
                      </a:r>
                      <a:endParaRPr lang="ru-RU" sz="11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 smtClean="0"/>
                        <a:t>2,10 В (350 мА)</a:t>
                      </a:r>
                    </a:p>
                    <a:p>
                      <a:pPr algn="ctr"/>
                      <a:r>
                        <a:rPr lang="en-US" sz="1100" noProof="0" dirty="0" smtClean="0">
                          <a:solidFill>
                            <a:schemeClr val="accent2"/>
                          </a:solidFill>
                        </a:rPr>
                        <a:t>2,35 В (700 мА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 smtClean="0"/>
                        <a:t>48 % (350 мА)</a:t>
                      </a:r>
                    </a:p>
                    <a:p>
                      <a:pPr algn="ctr"/>
                      <a:r>
                        <a:rPr lang="en-US" sz="1100" noProof="0" dirty="0" smtClean="0">
                          <a:solidFill>
                            <a:schemeClr val="accent2"/>
                          </a:solidFill>
                        </a:rPr>
                        <a:t>43 % (700 мА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8" name="Rectangle 20"/>
          <p:cNvSpPr>
            <a:spLocks noChangeArrowheads="1"/>
          </p:cNvSpPr>
          <p:nvPr/>
        </p:nvSpPr>
        <p:spPr bwMode="gray">
          <a:xfrm>
            <a:off x="4787900" y="2773363"/>
            <a:ext cx="3960813" cy="1743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79388" indent="-179388">
              <a:spcBef>
                <a:spcPct val="30000"/>
              </a:spcBef>
              <a:buFont typeface="Symbol" pitchFamily="18" charset="2"/>
              <a:buNone/>
              <a:tabLst>
                <a:tab pos="1790700" algn="l"/>
              </a:tabLst>
            </a:pPr>
            <a:r>
              <a:rPr lang="ru-RU" sz="1500" b="1">
                <a:solidFill>
                  <a:srgbClr val="000000"/>
                </a:solidFill>
              </a:rPr>
              <a:t>Преимущества</a:t>
            </a:r>
            <a:r>
              <a:rPr lang="en-US" sz="1500" b="1">
                <a:solidFill>
                  <a:srgbClr val="000000"/>
                </a:solidFill>
              </a:rPr>
              <a:t> 	</a:t>
            </a:r>
            <a:r>
              <a:rPr lang="en-US"/>
              <a:t>	</a:t>
            </a:r>
          </a:p>
          <a:p>
            <a:pPr marL="179388" indent="-179388">
              <a:spcBef>
                <a:spcPct val="30000"/>
              </a:spcBef>
              <a:buFont typeface="Arial" charset="0"/>
              <a:buChar char="•"/>
              <a:tabLst>
                <a:tab pos="1790700" algn="l"/>
              </a:tabLst>
            </a:pPr>
            <a:r>
              <a:rPr lang="en-US" sz="1500">
                <a:solidFill>
                  <a:srgbClr val="000000"/>
                </a:solidFill>
              </a:rPr>
              <a:t>Полная обратная совместимость с компонентами семейства OSLON SSL</a:t>
            </a:r>
          </a:p>
          <a:p>
            <a:pPr marL="179388" indent="-179388">
              <a:spcBef>
                <a:spcPct val="30000"/>
              </a:spcBef>
              <a:buFont typeface="Arial" charset="0"/>
              <a:buChar char="•"/>
              <a:tabLst>
                <a:tab pos="1790700" algn="l"/>
              </a:tabLst>
            </a:pPr>
            <a:r>
              <a:rPr lang="en-US" sz="1500">
                <a:solidFill>
                  <a:srgbClr val="000000"/>
                </a:solidFill>
              </a:rPr>
              <a:t>Углы обзора 80° и 150°</a:t>
            </a:r>
            <a:endParaRPr lang="ru-RU" sz="1500">
              <a:solidFill>
                <a:srgbClr val="000000"/>
              </a:solidFill>
            </a:endParaRPr>
          </a:p>
          <a:p>
            <a:pPr marL="179388" indent="-179388">
              <a:spcBef>
                <a:spcPct val="30000"/>
              </a:spcBef>
              <a:buFont typeface="Arial" charset="0"/>
              <a:buChar char="•"/>
              <a:tabLst>
                <a:tab pos="1790700" algn="l"/>
              </a:tabLst>
            </a:pPr>
            <a:r>
              <a:rPr lang="en-US" sz="1500">
                <a:solidFill>
                  <a:srgbClr val="000000"/>
                </a:solidFill>
              </a:rPr>
              <a:t>Высокоэффективные и высоконадежные светодиоды, великолепно подходящие для растениеводческого освещения </a:t>
            </a:r>
          </a:p>
          <a:p>
            <a:pPr marL="179388" indent="-179388">
              <a:spcBef>
                <a:spcPct val="30000"/>
              </a:spcBef>
              <a:buFont typeface="Arial" charset="0"/>
              <a:buChar char="•"/>
              <a:tabLst>
                <a:tab pos="1790700" algn="l"/>
              </a:tabLst>
            </a:pPr>
            <a:endParaRPr lang="ru-RU" sz="1500">
              <a:solidFill>
                <a:srgbClr val="000000"/>
              </a:solidFill>
            </a:endParaRPr>
          </a:p>
          <a:p>
            <a:pPr marL="179388" indent="-179388">
              <a:spcBef>
                <a:spcPct val="30000"/>
              </a:spcBef>
              <a:buFont typeface="Symbol" pitchFamily="18" charset="2"/>
              <a:buNone/>
              <a:tabLst>
                <a:tab pos="1790700" algn="l"/>
              </a:tabLst>
            </a:pPr>
            <a:endParaRPr lang="ru-RU" sz="150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139295" name="Footer Placeholder 4"/>
          <p:cNvSpPr>
            <a:spLocks noGrp="1"/>
          </p:cNvSpPr>
          <p:nvPr>
            <p:ph type="ftr" sz="quarter" idx="11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US"/>
              <a:t>OSRAM Opto Semiconductors| февраль 2015 г.</a:t>
            </a:r>
            <a:endParaRPr lang="ru-RU"/>
          </a:p>
        </p:txBody>
      </p:sp>
      <p:sp>
        <p:nvSpPr>
          <p:cNvPr id="139296" name="Date Placeholder 3"/>
          <p:cNvSpPr>
            <a:spLocks noGrp="1"/>
          </p:cNvSpPr>
          <p:nvPr>
            <p:ph type="dt" sz="quarter" idx="10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de-DE"/>
              <a:t>Светодиодное растениеводческое освещение | OS SSL EEM | NR AW</a:t>
            </a:r>
            <a:endParaRPr lang="ru-RU"/>
          </a:p>
        </p:txBody>
      </p:sp>
      <p:pic>
        <p:nvPicPr>
          <p:cNvPr id="9" name="Рисунок 8">
            <a:hlinkClick r:id="rId2"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453336"/>
            <a:ext cx="2526984" cy="29841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89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mtClean="0"/>
              <a:t>OSLON SSL</a:t>
            </a:r>
          </a:p>
        </p:txBody>
      </p:sp>
      <p:sp>
        <p:nvSpPr>
          <p:cNvPr id="140290" name="Untertitel 2"/>
          <p:cNvSpPr>
            <a:spLocks noGrp="1"/>
          </p:cNvSpPr>
          <p:nvPr>
            <p:ph type="subTitle" idx="1"/>
          </p:nvPr>
        </p:nvSpPr>
        <p:spPr/>
        <p:txBody>
          <a:bodyPr anchor="t"/>
          <a:lstStyle/>
          <a:p>
            <a:pPr marL="0" indent="0"/>
            <a:r>
              <a:rPr lang="ru-RU" smtClean="0"/>
              <a:t>730 нм</a:t>
            </a:r>
          </a:p>
        </p:txBody>
      </p:sp>
      <p:pic>
        <p:nvPicPr>
          <p:cNvPr id="4" name="Рисунок 3">
            <a:hlinkClick r:id="rId2"/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4445258"/>
            <a:ext cx="1080120" cy="1432014"/>
          </a:xfrm>
          <a:prstGeom prst="rect">
            <a:avLst/>
          </a:prstGeom>
        </p:spPr>
      </p:pic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750" y="1357313"/>
            <a:ext cx="4032250" cy="4808537"/>
          </a:xfrm>
        </p:spPr>
        <p:txBody>
          <a:bodyPr/>
          <a:lstStyle/>
          <a:p>
            <a:pPr marL="0" indent="0" eaLnBrk="0" hangingPunct="0">
              <a:defRPr/>
            </a:pPr>
            <a:r>
              <a:rPr lang="en-US" kern="1200" dirty="0" smtClean="0">
                <a:solidFill>
                  <a:srgbClr val="58585A"/>
                </a:solidFill>
              </a:rPr>
              <a:t>GF CS8PM1.24 (80°)</a:t>
            </a:r>
          </a:p>
          <a:p>
            <a:pPr marL="0" indent="0" eaLnBrk="0" hangingPunct="0">
              <a:defRPr/>
            </a:pPr>
            <a:r>
              <a:rPr lang="en-US" kern="1200" dirty="0" smtClean="0">
                <a:solidFill>
                  <a:srgbClr val="58585A"/>
                </a:solidFill>
              </a:rPr>
              <a:t>GF CSHPM1.24 (150°)</a:t>
            </a:r>
          </a:p>
          <a:p>
            <a:pPr marL="0" indent="0">
              <a:defRPr/>
            </a:pPr>
            <a:endParaRPr lang="ru-RU" sz="1500" b="0" dirty="0" smtClean="0">
              <a:solidFill>
                <a:srgbClr val="FF6600"/>
              </a:solidFill>
              <a:latin typeface="+mj-lt"/>
              <a:cs typeface="Arial" charset="0"/>
            </a:endParaRPr>
          </a:p>
          <a:p>
            <a:pPr marL="0" indent="0">
              <a:defRPr/>
            </a:pPr>
            <a:r>
              <a:rPr lang="en-US" sz="1500" b="0" dirty="0" smtClean="0">
                <a:solidFill>
                  <a:schemeClr val="tx1"/>
                </a:solidFill>
                <a:latin typeface="+mj-lt"/>
              </a:rPr>
              <a:t>Продукт выпущен в продажу</a:t>
            </a:r>
          </a:p>
          <a:p>
            <a:pPr marL="0" indent="0">
              <a:defRPr/>
            </a:pPr>
            <a:endParaRPr lang="ru-RU" sz="1500" b="0" dirty="0" smtClean="0">
              <a:solidFill>
                <a:srgbClr val="000000"/>
              </a:solidFill>
              <a:latin typeface="+mj-lt"/>
              <a:cs typeface="Arial" charset="0"/>
            </a:endParaRPr>
          </a:p>
          <a:p>
            <a:pPr marL="179388" indent="-179388">
              <a:spcBef>
                <a:spcPct val="30000"/>
              </a:spcBef>
              <a:tabLst>
                <a:tab pos="1790700" algn="l"/>
              </a:tabLst>
              <a:defRPr/>
            </a:pPr>
            <a:r>
              <a:rPr lang="en-US" sz="1500" dirty="0" smtClean="0">
                <a:solidFill>
                  <a:schemeClr val="tx1"/>
                </a:solidFill>
                <a:latin typeface="+mj-lt"/>
              </a:rPr>
              <a:t>Основные особенности</a:t>
            </a:r>
          </a:p>
          <a:p>
            <a:pPr marL="179388" indent="-179388">
              <a:spcBef>
                <a:spcPct val="30000"/>
              </a:spcBef>
              <a:buFont typeface="Arial" pitchFamily="34" charset="0"/>
              <a:buChar char="•"/>
              <a:tabLst>
                <a:tab pos="1790700" algn="l"/>
              </a:tabLst>
              <a:defRPr/>
            </a:pPr>
            <a:r>
              <a:rPr lang="el-GR" sz="1500" b="0" dirty="0" smtClean="0">
                <a:solidFill>
                  <a:schemeClr val="tx1"/>
                </a:solidFill>
                <a:latin typeface="Calibri"/>
              </a:rPr>
              <a:t>λ</a:t>
            </a:r>
            <a:r>
              <a:rPr lang="en-US" sz="1500" b="0" baseline="-25000" dirty="0" smtClean="0">
                <a:solidFill>
                  <a:schemeClr val="tx1"/>
                </a:solidFill>
                <a:latin typeface="+mj-lt"/>
              </a:rPr>
              <a:t>peak</a:t>
            </a:r>
            <a:r>
              <a:rPr lang="en-US" sz="1500" b="0" dirty="0" smtClean="0">
                <a:solidFill>
                  <a:schemeClr val="tx1"/>
                </a:solidFill>
                <a:latin typeface="+mj-lt"/>
              </a:rPr>
              <a:t> =  730 нм</a:t>
            </a:r>
          </a:p>
          <a:p>
            <a:pPr marL="179388" indent="-179388">
              <a:spcBef>
                <a:spcPct val="30000"/>
              </a:spcBef>
              <a:buFont typeface="Arial" pitchFamily="34" charset="0"/>
              <a:buChar char="•"/>
              <a:tabLst>
                <a:tab pos="1790700" algn="l"/>
              </a:tabLst>
              <a:defRPr/>
            </a:pPr>
            <a:r>
              <a:rPr lang="en-US" sz="1500" b="0" dirty="0" smtClean="0">
                <a:solidFill>
                  <a:schemeClr val="tx1"/>
                </a:solidFill>
                <a:latin typeface="+mj-lt"/>
              </a:rPr>
              <a:t>Низкое тепловое сопротивление — 6 К/Вт</a:t>
            </a:r>
          </a:p>
          <a:p>
            <a:pPr marL="179388" indent="-179388">
              <a:spcBef>
                <a:spcPct val="30000"/>
              </a:spcBef>
              <a:buFont typeface="Arial" pitchFamily="34" charset="0"/>
              <a:buChar char="•"/>
              <a:tabLst>
                <a:tab pos="1790700" algn="l"/>
              </a:tabLst>
              <a:defRPr/>
            </a:pPr>
            <a:r>
              <a:rPr lang="en-US" sz="1500" b="0" dirty="0" smtClean="0">
                <a:solidFill>
                  <a:schemeClr val="tx1"/>
                </a:solidFill>
                <a:latin typeface="+mj-lt"/>
              </a:rPr>
              <a:t>Рабочий ток до 1 А</a:t>
            </a:r>
          </a:p>
          <a:p>
            <a:pPr marL="179388" indent="-179388">
              <a:spcBef>
                <a:spcPct val="30000"/>
              </a:spcBef>
              <a:buFont typeface="Arial" pitchFamily="34" charset="0"/>
              <a:buChar char="•"/>
              <a:tabLst>
                <a:tab pos="1790700" algn="l"/>
              </a:tabLst>
              <a:defRPr/>
            </a:pPr>
            <a:r>
              <a:rPr lang="en-US" sz="1500" b="0" dirty="0" smtClean="0">
                <a:solidFill>
                  <a:schemeClr val="tx1"/>
                </a:solidFill>
                <a:latin typeface="+mj-lt"/>
              </a:rPr>
              <a:t>Высоконадежный и высокоэффективный светодиод с превосходной стойкостью к коррозии</a:t>
            </a:r>
          </a:p>
          <a:p>
            <a:pPr marL="0" indent="0">
              <a:defRPr/>
            </a:pPr>
            <a:r>
              <a:rPr dirty="0" smtClean="0"/>
              <a:t> </a:t>
            </a:r>
          </a:p>
          <a:p>
            <a:pPr marL="0" indent="0">
              <a:defRPr/>
            </a:pPr>
            <a:endParaRPr lang="ru-RU" dirty="0" smtClean="0">
              <a:solidFill>
                <a:srgbClr val="58585A"/>
              </a:solidFill>
              <a:cs typeface="Arial" charset="0"/>
            </a:endParaRPr>
          </a:p>
          <a:p>
            <a:pPr marL="0" indent="0">
              <a:defRPr/>
            </a:pPr>
            <a:endParaRPr lang="ru-RU" dirty="0" smtClean="0">
              <a:solidFill>
                <a:srgbClr val="58585A"/>
              </a:solidFill>
              <a:cs typeface="Arial" charset="0"/>
            </a:endParaRPr>
          </a:p>
          <a:p>
            <a:pPr marL="0" indent="0">
              <a:defRPr/>
            </a:pPr>
            <a:endParaRPr lang="ru-RU" dirty="0" smtClean="0">
              <a:solidFill>
                <a:srgbClr val="58585A"/>
              </a:solidFill>
              <a:cs typeface="Arial" charset="0"/>
            </a:endParaRPr>
          </a:p>
          <a:p>
            <a:pPr marL="0" indent="0">
              <a:defRPr/>
            </a:pPr>
            <a:endParaRPr lang="ru-RU" dirty="0">
              <a:solidFill>
                <a:srgbClr val="58585A"/>
              </a:solidFill>
              <a:cs typeface="Arial" charset="0"/>
            </a:endParaRPr>
          </a:p>
        </p:txBody>
      </p:sp>
      <p:sp>
        <p:nvSpPr>
          <p:cNvPr id="141314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CD62BBB9-5963-425C-825C-58D896A23CFE}" type="slidenum">
              <a:rPr lang="de-DE"/>
              <a:pPr/>
              <a:t>32</a:t>
            </a:fld>
            <a:endParaRPr lang="ru-RU"/>
          </a:p>
        </p:txBody>
      </p:sp>
      <p:sp>
        <p:nvSpPr>
          <p:cNvPr id="141315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Растениеводческое освещение </a:t>
            </a:r>
            <a:br>
              <a:rPr lang="ru-RU" smtClean="0"/>
            </a:br>
            <a:r>
              <a:rPr lang="ru-RU" smtClean="0"/>
              <a:t>OSLON</a:t>
            </a:r>
            <a:r>
              <a:rPr lang="de-DE" baseline="30000" smtClean="0"/>
              <a:t>®</a:t>
            </a:r>
            <a:r>
              <a:rPr lang="ru-RU" smtClean="0"/>
              <a:t> SSL </a:t>
            </a:r>
          </a:p>
        </p:txBody>
      </p:sp>
      <p:sp>
        <p:nvSpPr>
          <p:cNvPr id="18" name="Rectangle 20"/>
          <p:cNvSpPr>
            <a:spLocks noChangeArrowheads="1"/>
          </p:cNvSpPr>
          <p:nvPr/>
        </p:nvSpPr>
        <p:spPr bwMode="gray">
          <a:xfrm>
            <a:off x="4787900" y="2773363"/>
            <a:ext cx="3960813" cy="1743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79388" indent="-179388">
              <a:spcBef>
                <a:spcPct val="30000"/>
              </a:spcBef>
              <a:buFont typeface="Symbol" pitchFamily="18" charset="2"/>
              <a:buNone/>
              <a:tabLst>
                <a:tab pos="1790700" algn="l"/>
              </a:tabLst>
            </a:pPr>
            <a:r>
              <a:rPr lang="ru-RU" sz="1500" b="1">
                <a:solidFill>
                  <a:srgbClr val="000000"/>
                </a:solidFill>
              </a:rPr>
              <a:t>Преимущества</a:t>
            </a:r>
            <a:r>
              <a:rPr lang="en-US" sz="1500" b="1">
                <a:solidFill>
                  <a:srgbClr val="000000"/>
                </a:solidFill>
              </a:rPr>
              <a:t> 	</a:t>
            </a:r>
            <a:r>
              <a:rPr lang="en-US"/>
              <a:t>	</a:t>
            </a:r>
          </a:p>
          <a:p>
            <a:pPr marL="179388" indent="-179388">
              <a:spcBef>
                <a:spcPct val="30000"/>
              </a:spcBef>
              <a:buFont typeface="Arial" charset="0"/>
              <a:buChar char="•"/>
              <a:tabLst>
                <a:tab pos="1790700" algn="l"/>
              </a:tabLst>
            </a:pPr>
            <a:r>
              <a:rPr lang="en-US" sz="1500">
                <a:solidFill>
                  <a:srgbClr val="000000"/>
                </a:solidFill>
              </a:rPr>
              <a:t>Полная обратная совместимость с компонентами семейства OSLON SSL</a:t>
            </a:r>
          </a:p>
          <a:p>
            <a:pPr marL="179388" indent="-179388">
              <a:spcBef>
                <a:spcPct val="30000"/>
              </a:spcBef>
              <a:buFont typeface="Arial" charset="0"/>
              <a:buChar char="•"/>
              <a:tabLst>
                <a:tab pos="1790700" algn="l"/>
              </a:tabLst>
            </a:pPr>
            <a:r>
              <a:rPr lang="en-US" sz="1500">
                <a:solidFill>
                  <a:srgbClr val="000000"/>
                </a:solidFill>
              </a:rPr>
              <a:t>Углы обзора 80° и 150°</a:t>
            </a:r>
            <a:endParaRPr lang="ru-RU" sz="1500">
              <a:solidFill>
                <a:srgbClr val="000000"/>
              </a:solidFill>
            </a:endParaRPr>
          </a:p>
          <a:p>
            <a:pPr marL="179388" indent="-179388">
              <a:spcBef>
                <a:spcPct val="30000"/>
              </a:spcBef>
              <a:buFont typeface="Arial" charset="0"/>
              <a:buChar char="•"/>
              <a:tabLst>
                <a:tab pos="1790700" algn="l"/>
              </a:tabLst>
            </a:pPr>
            <a:r>
              <a:rPr lang="en-US" sz="1500">
                <a:solidFill>
                  <a:srgbClr val="000000"/>
                </a:solidFill>
              </a:rPr>
              <a:t>Высокоэффективные и высоконадежные светодиоды, великолепно подходящие для растениеводческого освещения </a:t>
            </a:r>
          </a:p>
          <a:p>
            <a:pPr marL="179388" indent="-179388">
              <a:spcBef>
                <a:spcPct val="30000"/>
              </a:spcBef>
              <a:buFont typeface="Arial" charset="0"/>
              <a:buChar char="•"/>
              <a:tabLst>
                <a:tab pos="1790700" algn="l"/>
              </a:tabLst>
            </a:pPr>
            <a:endParaRPr lang="ru-RU" sz="1500">
              <a:solidFill>
                <a:srgbClr val="000000"/>
              </a:solidFill>
            </a:endParaRPr>
          </a:p>
          <a:p>
            <a:pPr marL="179388" indent="-179388">
              <a:spcBef>
                <a:spcPct val="30000"/>
              </a:spcBef>
              <a:buFont typeface="Symbol" pitchFamily="18" charset="2"/>
              <a:buNone/>
              <a:tabLst>
                <a:tab pos="1790700" algn="l"/>
              </a:tabLst>
            </a:pPr>
            <a:endParaRPr lang="ru-RU" sz="150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141317" name="Footer Placeholder 4"/>
          <p:cNvSpPr>
            <a:spLocks noGrp="1"/>
          </p:cNvSpPr>
          <p:nvPr>
            <p:ph type="ftr" sz="quarter" idx="11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US"/>
              <a:t>OSRAM Opto Semiconductors| февраль 2015 г.</a:t>
            </a:r>
            <a:endParaRPr lang="ru-RU"/>
          </a:p>
        </p:txBody>
      </p:sp>
      <p:sp>
        <p:nvSpPr>
          <p:cNvPr id="141318" name="Date Placeholder 3"/>
          <p:cNvSpPr>
            <a:spLocks noGrp="1"/>
          </p:cNvSpPr>
          <p:nvPr>
            <p:ph type="dt" sz="quarter" idx="10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de-DE"/>
              <a:t>Светодиодное растениеводческое освещение | OS SSL EEM | NR AW</a:t>
            </a:r>
            <a:endParaRPr lang="ru-RU"/>
          </a:p>
        </p:txBody>
      </p:sp>
      <p:graphicFrame>
        <p:nvGraphicFramePr>
          <p:cNvPr id="10" name="Tabelle 6"/>
          <p:cNvGraphicFramePr>
            <a:graphicFrameLocks noGrp="1"/>
          </p:cNvGraphicFramePr>
          <p:nvPr/>
        </p:nvGraphicFramePr>
        <p:xfrm>
          <a:off x="547688" y="5084763"/>
          <a:ext cx="7716622" cy="1127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26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5286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8196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020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5128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3539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004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2520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 smtClean="0"/>
                        <a:t>Значения параметров</a:t>
                      </a:r>
                      <a:r>
                        <a:t> </a:t>
                      </a:r>
                      <a:br/>
                      <a:r>
                        <a:rPr lang="en-US" sz="1100" noProof="0" dirty="0" smtClean="0"/>
                        <a:t>при 25 °C</a:t>
                      </a:r>
                    </a:p>
                  </a:txBody>
                  <a:tcPr anchor="ctr"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 smtClean="0"/>
                        <a:t>Ток</a:t>
                      </a:r>
                    </a:p>
                    <a:p>
                      <a:pPr algn="ctr"/>
                      <a:r>
                        <a:rPr lang="en-US" sz="1100" noProof="0" dirty="0" smtClean="0"/>
                        <a:t>бинирования</a:t>
                      </a:r>
                      <a:endParaRPr lang="ru-RU" sz="1100" noProof="0" dirty="0"/>
                    </a:p>
                  </a:txBody>
                  <a:tcPr anchor="ctr"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 smtClean="0"/>
                        <a:t>Макс.</a:t>
                      </a:r>
                    </a:p>
                    <a:p>
                      <a:pPr algn="ctr"/>
                      <a:r>
                        <a:rPr lang="en-US" sz="1100" noProof="0" dirty="0" smtClean="0"/>
                        <a:t>ток</a:t>
                      </a:r>
                      <a:endParaRPr lang="ru-RU" sz="1100" noProof="0" dirty="0"/>
                    </a:p>
                  </a:txBody>
                  <a:tcPr anchor="ctr"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 smtClean="0"/>
                        <a:t>Угол</a:t>
                      </a:r>
                      <a:r>
                        <a:t/>
                      </a:r>
                      <a:br/>
                      <a:r>
                        <a:rPr lang="en-US" sz="1100" noProof="0" dirty="0" smtClean="0"/>
                        <a:t>обзора</a:t>
                      </a:r>
                      <a:endParaRPr lang="ru-RU" sz="1100" noProof="0" dirty="0"/>
                    </a:p>
                  </a:txBody>
                  <a:tcPr anchor="ctr"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 smtClean="0"/>
                        <a:t>Тип. </a:t>
                      </a:r>
                    </a:p>
                    <a:p>
                      <a:pPr algn="ctr"/>
                      <a:r>
                        <a:rPr lang="en-US" sz="1100" noProof="0" dirty="0" smtClean="0"/>
                        <a:t>поток излучения </a:t>
                      </a:r>
                    </a:p>
                  </a:txBody>
                  <a:tcPr anchor="ctr"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 smtClean="0"/>
                        <a:t>Тип. прямое</a:t>
                      </a:r>
                    </a:p>
                    <a:p>
                      <a:pPr algn="ctr"/>
                      <a:r>
                        <a:rPr lang="en-US" sz="1100" noProof="0" dirty="0" smtClean="0"/>
                        <a:t>напряжение</a:t>
                      </a:r>
                      <a:endParaRPr lang="ru-RU" sz="1100" noProof="0" dirty="0"/>
                    </a:p>
                  </a:txBody>
                  <a:tcPr anchor="ctr"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 smtClean="0"/>
                        <a:t>Тип. КПД</a:t>
                      </a:r>
                    </a:p>
                    <a:p>
                      <a:pPr algn="ctr"/>
                      <a:r>
                        <a:rPr lang="en-US" sz="1100" noProof="0" dirty="0" smtClean="0"/>
                        <a:t>источника излучения</a:t>
                      </a:r>
                      <a:endParaRPr lang="ru-RU" sz="1100" noProof="0" dirty="0"/>
                    </a:p>
                  </a:txBody>
                  <a:tcPr anchor="ctr">
                    <a:solidFill>
                      <a:srgbClr val="FF66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287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ym typeface="Wingdings 3" pitchFamily="18" charset="2"/>
                        </a:rPr>
                        <a:t>GF CSxPM1.24</a:t>
                      </a:r>
                      <a:endParaRPr lang="ru-RU" sz="1100" b="1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noProof="0" dirty="0" smtClean="0"/>
                        <a:t>350 мА</a:t>
                      </a:r>
                      <a:endParaRPr lang="ru-RU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noProof="0" dirty="0" smtClean="0"/>
                        <a:t>1000 мА</a:t>
                      </a:r>
                      <a:endParaRPr lang="ru-RU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 smtClean="0"/>
                        <a:t>80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°</a:t>
                      </a:r>
                      <a:r>
                        <a:rPr lang="en-US" sz="1100" noProof="0" dirty="0" smtClean="0"/>
                        <a:t> и 150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°</a:t>
                      </a:r>
                      <a:endParaRPr lang="ru-RU" sz="1100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 smtClean="0"/>
                        <a:t>231 мВт (350 мА)</a:t>
                      </a:r>
                    </a:p>
                    <a:p>
                      <a:pPr algn="ctr"/>
                      <a:r>
                        <a:rPr lang="en-US" sz="1100" noProof="0" dirty="0" smtClean="0">
                          <a:solidFill>
                            <a:schemeClr val="accent2"/>
                          </a:solidFill>
                        </a:rPr>
                        <a:t> 442 мВт (700 мА)</a:t>
                      </a:r>
                      <a:endParaRPr lang="ru-RU" sz="1100" noProof="0" dirty="0">
                        <a:solidFill>
                          <a:schemeClr val="accent2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 smtClean="0"/>
                        <a:t>1,85 В (350 мА)</a:t>
                      </a:r>
                    </a:p>
                    <a:p>
                      <a:pPr algn="ctr"/>
                      <a:r>
                        <a:rPr lang="en-US" sz="1100" noProof="0" dirty="0" smtClean="0">
                          <a:solidFill>
                            <a:schemeClr val="accent2"/>
                          </a:solidFill>
                        </a:rPr>
                        <a:t> 2,10 В (700 мА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 smtClean="0"/>
                        <a:t>36 % (350 мА)</a:t>
                      </a:r>
                    </a:p>
                    <a:p>
                      <a:pPr algn="ctr"/>
                      <a:r>
                        <a:rPr lang="en-US" sz="1100" noProof="0" dirty="0" smtClean="0">
                          <a:solidFill>
                            <a:schemeClr val="accent2"/>
                          </a:solidFill>
                        </a:rPr>
                        <a:t>30 % (700 мА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9" name="Рисунок 8">
            <a:hlinkClick r:id="rId2"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453336"/>
            <a:ext cx="2526984" cy="29841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337" name="Titel 1"/>
          <p:cNvSpPr>
            <a:spLocks noGrp="1"/>
          </p:cNvSpPr>
          <p:nvPr>
            <p:ph type="ctrTitle"/>
          </p:nvPr>
        </p:nvSpPr>
        <p:spPr>
          <a:xfrm>
            <a:off x="539750" y="2276475"/>
            <a:ext cx="8064500" cy="996950"/>
          </a:xfrm>
        </p:spPr>
        <p:txBody>
          <a:bodyPr/>
          <a:lstStyle/>
          <a:p>
            <a:pPr eaLnBrk="1" hangingPunct="1"/>
            <a:r>
              <a:rPr lang="ru-RU" smtClean="0"/>
              <a:t/>
            </a:r>
            <a:br>
              <a:rPr lang="ru-RU" smtClean="0"/>
            </a:br>
            <a:r>
              <a:rPr lang="ru-RU" smtClean="0"/>
              <a:t>Светодиоды для растениеводческого освещения</a:t>
            </a:r>
          </a:p>
        </p:txBody>
      </p:sp>
      <p:sp>
        <p:nvSpPr>
          <p:cNvPr id="142338" name="Untertitel 2"/>
          <p:cNvSpPr>
            <a:spLocks noGrp="1"/>
          </p:cNvSpPr>
          <p:nvPr>
            <p:ph type="subTitle" idx="1"/>
          </p:nvPr>
        </p:nvSpPr>
        <p:spPr/>
        <p:txBody>
          <a:bodyPr anchor="t"/>
          <a:lstStyle/>
          <a:p>
            <a:pPr marL="0" indent="0" eaLnBrk="1" hangingPunct="1"/>
            <a:r>
              <a:rPr lang="ru-RU" smtClean="0"/>
              <a:t>Испытания по стандарту LM80</a:t>
            </a:r>
          </a:p>
        </p:txBody>
      </p:sp>
      <p:pic>
        <p:nvPicPr>
          <p:cNvPr id="4" name="Рисунок 3">
            <a:hlinkClick r:id="rId2"/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4509120"/>
            <a:ext cx="1080120" cy="143201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9" name="Slide Number Placeholder 7"/>
          <p:cNvSpPr>
            <a:spLocks noGrp="1"/>
          </p:cNvSpPr>
          <p:nvPr>
            <p:ph type="sldNum" sz="quarter" idx="12"/>
          </p:nvPr>
        </p:nvSpPr>
        <p:spPr>
          <a:ln>
            <a:miter lim="800000"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17F3843-5F87-4C73-8D0B-F7F8D581A9F5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4</a:t>
            </a:fld>
            <a:endParaRPr lang="ru-RU" smtClean="0"/>
          </a:p>
        </p:txBody>
      </p:sp>
      <p:sp>
        <p:nvSpPr>
          <p:cNvPr id="12" name="Rectangle 29"/>
          <p:cNvSpPr>
            <a:spLocks noChangeArrowheads="1"/>
          </p:cNvSpPr>
          <p:nvPr/>
        </p:nvSpPr>
        <p:spPr bwMode="gray">
          <a:xfrm>
            <a:off x="6156176" y="837407"/>
            <a:ext cx="2600474" cy="287337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900" b="1" dirty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Arial"/>
              </a:rPr>
              <a:t>ДЛЯ ВНУТРЕННЕГО ИСПОЛЬЗОВАНИЯ</a:t>
            </a:r>
          </a:p>
        </p:txBody>
      </p:sp>
      <p:sp>
        <p:nvSpPr>
          <p:cNvPr id="22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OSRAM Opto Semiconductors| февраль 2015 г.</a:t>
            </a:r>
            <a:endParaRPr lang="ru-RU" dirty="0"/>
          </a:p>
        </p:txBody>
      </p:sp>
      <p:sp>
        <p:nvSpPr>
          <p:cNvPr id="23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Светодиодное растениеводческое освещение | OS SSL EEM | NR AW</a:t>
            </a:r>
            <a:endParaRPr lang="ru-RU" dirty="0"/>
          </a:p>
        </p:txBody>
      </p:sp>
      <p:graphicFrame>
        <p:nvGraphicFramePr>
          <p:cNvPr id="21" name="Table 20"/>
          <p:cNvGraphicFramePr>
            <a:graphicFrameLocks noGrp="1"/>
          </p:cNvGraphicFramePr>
          <p:nvPr/>
        </p:nvGraphicFramePr>
        <p:xfrm>
          <a:off x="539750" y="1385888"/>
          <a:ext cx="8064897" cy="2263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18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38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878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8788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3308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6873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94161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25768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Продукт</a:t>
                      </a:r>
                      <a:endParaRPr lang="ru-RU" sz="1200" dirty="0"/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Ток</a:t>
                      </a:r>
                      <a:endParaRPr lang="ru-RU" sz="1200" dirty="0"/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Температура (Ts)</a:t>
                      </a:r>
                      <a:endParaRPr lang="ru-RU" sz="1200" dirty="0"/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3000 ч</a:t>
                      </a:r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6000 ч </a:t>
                      </a:r>
                      <a:endParaRPr lang="ru-RU" sz="1200" dirty="0"/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9000 ч </a:t>
                      </a:r>
                      <a:endParaRPr lang="ru-RU" sz="1200" dirty="0"/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Примечания</a:t>
                      </a:r>
                      <a:endParaRPr lang="ru-RU" sz="1200" dirty="0"/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1080">
                <a:tc rowSpan="6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noProof="0" dirty="0" smtClean="0">
                          <a:solidFill>
                            <a:sysClr val="windowText" lastClr="000000"/>
                          </a:solidFill>
                        </a:rPr>
                        <a:t>GF CSxPM1.24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noProof="0" dirty="0" smtClean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500 мА</a:t>
                      </a:r>
                      <a:endParaRPr lang="ru-RU" sz="1000" dirty="0"/>
                    </a:p>
                  </a:txBody>
                  <a:tcPr anchor="ctr"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latin typeface="+mn-lt"/>
                        </a:rPr>
                        <a:t>55 °C</a:t>
                      </a:r>
                    </a:p>
                  </a:txBody>
                  <a:tcPr anchor="ctr"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Май 2015</a:t>
                      </a:r>
                    </a:p>
                  </a:txBody>
                  <a:tcPr anchor="ctr"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>
                          <a:solidFill>
                            <a:schemeClr val="tx1"/>
                          </a:solidFill>
                        </a:rPr>
                        <a:t>Сен 2015</a:t>
                      </a:r>
                      <a:endParaRPr lang="ru-RU" sz="1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</a:rPr>
                        <a:t>Янв 2016</a:t>
                      </a:r>
                      <a:endParaRPr lang="ru-RU" sz="1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3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buFontTx/>
                        <a:buChar char="-"/>
                      </a:pPr>
                      <a:endParaRPr lang="en-US" sz="1000" baseline="0" dirty="0" smtClean="0">
                        <a:latin typeface="Arial"/>
                        <a:cs typeface="Arial"/>
                      </a:endParaRPr>
                    </a:p>
                  </a:txBody>
                  <a:tcPr anchor="ctr"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1080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latin typeface="+mn-lt"/>
                        </a:rPr>
                        <a:t>85 °C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Май 2015</a:t>
                      </a:r>
                    </a:p>
                  </a:txBody>
                  <a:tcPr anchor="ctr"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>
                          <a:solidFill>
                            <a:schemeClr val="tx1"/>
                          </a:solidFill>
                        </a:rPr>
                        <a:t>Сен 2015</a:t>
                      </a:r>
                      <a:endParaRPr lang="ru-RU" sz="1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</a:rPr>
                        <a:t>Янв 2016</a:t>
                      </a:r>
                      <a:endParaRPr lang="ru-RU" sz="1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3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1080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latin typeface="+mn-lt"/>
                        </a:rPr>
                        <a:t>105 °C</a:t>
                      </a:r>
                    </a:p>
                  </a:txBody>
                  <a:tcPr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Май 2015</a:t>
                      </a:r>
                    </a:p>
                  </a:txBody>
                  <a:tcPr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>
                          <a:solidFill>
                            <a:schemeClr val="tx1"/>
                          </a:solidFill>
                        </a:rPr>
                        <a:t>Сен 2015</a:t>
                      </a:r>
                      <a:endParaRPr lang="ru-RU" sz="1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</a:rPr>
                        <a:t>Янв 2016</a:t>
                      </a:r>
                      <a:endParaRPr lang="ru-RU" sz="1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1080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/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800 мА</a:t>
                      </a:r>
                      <a:endParaRPr lang="ru-RU" sz="1000" dirty="0"/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latin typeface="+mn-lt"/>
                        </a:rPr>
                        <a:t>55 °C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Май 2015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>
                          <a:solidFill>
                            <a:schemeClr val="tx1"/>
                          </a:solidFill>
                        </a:rPr>
                        <a:t>Сен 2015</a:t>
                      </a:r>
                      <a:endParaRPr lang="ru-RU" sz="1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</a:rPr>
                        <a:t>Янв 2016</a:t>
                      </a:r>
                      <a:endParaRPr lang="ru-RU" sz="1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3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buFontTx/>
                        <a:buChar char="-"/>
                      </a:pPr>
                      <a:endParaRPr lang="en-US" sz="1000" baseline="0" dirty="0" smtClean="0">
                        <a:latin typeface="+mn-lt"/>
                        <a:cs typeface="Arial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1080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latin typeface="+mn-lt"/>
                        </a:rPr>
                        <a:t>85°C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Май 2015</a:t>
                      </a:r>
                    </a:p>
                  </a:txBody>
                  <a:tcPr anchor="ctr"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>
                          <a:solidFill>
                            <a:schemeClr val="tx1"/>
                          </a:solidFill>
                        </a:rPr>
                        <a:t>Сен 2015</a:t>
                      </a:r>
                      <a:endParaRPr lang="ru-RU" sz="1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</a:rPr>
                        <a:t>Янв 2016</a:t>
                      </a:r>
                      <a:endParaRPr lang="ru-RU" sz="1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3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1080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latin typeface="+mn-lt"/>
                        </a:rPr>
                        <a:t>105 °C</a:t>
                      </a:r>
                    </a:p>
                  </a:txBody>
                  <a:tcPr anchor="ctr"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Май 2015</a:t>
                      </a:r>
                    </a:p>
                  </a:txBody>
                  <a:tcPr anchor="ctr"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>
                          <a:solidFill>
                            <a:schemeClr val="tx1"/>
                          </a:solidFill>
                        </a:rPr>
                        <a:t>Сен 2015</a:t>
                      </a:r>
                      <a:endParaRPr lang="ru-RU" sz="1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</a:rPr>
                        <a:t>Янв 2016</a:t>
                      </a:r>
                      <a:endParaRPr lang="ru-RU" sz="1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43418" name="Title 1"/>
          <p:cNvSpPr>
            <a:spLocks noGrp="1"/>
          </p:cNvSpPr>
          <p:nvPr>
            <p:ph type="title"/>
          </p:nvPr>
        </p:nvSpPr>
        <p:spPr>
          <a:xfrm>
            <a:off x="539750" y="476250"/>
            <a:ext cx="7704138" cy="814388"/>
          </a:xfrm>
        </p:spPr>
        <p:txBody>
          <a:bodyPr/>
          <a:lstStyle/>
          <a:p>
            <a:pPr eaLnBrk="1" hangingPunct="1"/>
            <a:r>
              <a:rPr lang="ru-RU" sz="1800" smtClean="0"/>
              <a:t>OSLON</a:t>
            </a:r>
            <a:r>
              <a:rPr lang="de-DE" sz="1800" baseline="30000" smtClean="0"/>
              <a:t>®</a:t>
            </a:r>
            <a:r>
              <a:rPr lang="ru-RU" sz="1800" smtClean="0"/>
              <a:t> SSL </a:t>
            </a:r>
            <a:br>
              <a:rPr lang="ru-RU" sz="1800" smtClean="0"/>
            </a:br>
            <a:r>
              <a:rPr lang="ru-RU" sz="1800" smtClean="0"/>
              <a:t>Испытания по стандарту LM-80 (с разбивкой по типу и условиям)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549275" y="3789363"/>
          <a:ext cx="8064897" cy="2263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18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38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878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8788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3308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6873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94161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85192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Продукт</a:t>
                      </a:r>
                      <a:endParaRPr lang="ru-RU" sz="1200" dirty="0"/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Ток</a:t>
                      </a:r>
                      <a:endParaRPr lang="ru-RU" sz="1200" dirty="0"/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Температура (Ts)</a:t>
                      </a:r>
                      <a:endParaRPr lang="ru-RU" sz="1200" dirty="0"/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3000 ч</a:t>
                      </a:r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6000 ч </a:t>
                      </a:r>
                      <a:endParaRPr lang="ru-RU" sz="1200" dirty="0"/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0 000 ч </a:t>
                      </a:r>
                      <a:endParaRPr lang="ru-RU" sz="1200" dirty="0"/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Примечания</a:t>
                      </a:r>
                      <a:endParaRPr lang="ru-RU" sz="1200" dirty="0"/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1080">
                <a:tc rowSpan="6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noProof="0" dirty="0" smtClean="0">
                          <a:solidFill>
                            <a:sysClr val="windowText" lastClr="000000"/>
                          </a:solidFill>
                        </a:rPr>
                        <a:t>LH CPxP</a:t>
                      </a:r>
                      <a:endParaRPr lang="ru-RU" sz="1000" b="0" noProof="0" dirty="0" smtClean="0">
                        <a:solidFill>
                          <a:sysClr val="windowText" lastClr="000000"/>
                        </a:solidFill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noProof="0" dirty="0" smtClean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500 мА</a:t>
                      </a:r>
                      <a:endParaRPr lang="ru-RU" sz="1000" dirty="0"/>
                    </a:p>
                  </a:txBody>
                  <a:tcPr anchor="ctr"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latin typeface="+mn-lt"/>
                        </a:rPr>
                        <a:t>55 °C</a:t>
                      </a:r>
                    </a:p>
                  </a:txBody>
                  <a:tcPr anchor="ctr"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5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</a:rPr>
                        <a:t>&gt; 60 000 ч</a:t>
                      </a:r>
                      <a:endParaRPr lang="ru-RU" sz="1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3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buFontTx/>
                        <a:buChar char="-"/>
                      </a:pPr>
                      <a:endParaRPr lang="en-US" sz="1000" baseline="0" dirty="0" smtClean="0">
                        <a:latin typeface="Arial"/>
                        <a:cs typeface="Arial"/>
                      </a:endParaRPr>
                    </a:p>
                  </a:txBody>
                  <a:tcPr anchor="ctr"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1080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latin typeface="+mn-lt"/>
                        </a:rPr>
                        <a:t>85 °C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5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</a:rPr>
                        <a:t>&gt; 60 000 ч</a:t>
                      </a:r>
                      <a:endParaRPr lang="ru-RU" sz="1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3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1080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latin typeface="+mn-lt"/>
                        </a:rPr>
                        <a:t>105°C</a:t>
                      </a:r>
                    </a:p>
                  </a:txBody>
                  <a:tcPr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5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</a:rPr>
                        <a:t>&gt; 60 000 ч</a:t>
                      </a:r>
                      <a:endParaRPr lang="ru-RU" sz="1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1080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/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800 мА</a:t>
                      </a:r>
                      <a:endParaRPr lang="ru-RU" sz="1000" dirty="0"/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latin typeface="+mn-lt"/>
                        </a:rPr>
                        <a:t>55 °C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Май 2015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>
                          <a:solidFill>
                            <a:schemeClr val="tx1"/>
                          </a:solidFill>
                        </a:rPr>
                        <a:t>Сен 2015</a:t>
                      </a:r>
                      <a:endParaRPr lang="ru-RU" sz="1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</a:rPr>
                        <a:t>Янв 2016</a:t>
                      </a:r>
                      <a:endParaRPr lang="ru-RU" sz="1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3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buFontTx/>
                        <a:buChar char="-"/>
                      </a:pPr>
                      <a:endParaRPr lang="en-US" sz="1000" baseline="0" dirty="0" smtClean="0">
                        <a:latin typeface="+mn-lt"/>
                        <a:cs typeface="Arial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1080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latin typeface="+mn-lt"/>
                        </a:rPr>
                        <a:t>85 °C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Май 2015</a:t>
                      </a:r>
                    </a:p>
                  </a:txBody>
                  <a:tcPr anchor="ctr"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>
                          <a:solidFill>
                            <a:schemeClr val="tx1"/>
                          </a:solidFill>
                        </a:rPr>
                        <a:t>Сен 2015</a:t>
                      </a:r>
                      <a:endParaRPr lang="ru-RU" sz="1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</a:rPr>
                        <a:t>Янв 2016</a:t>
                      </a:r>
                      <a:endParaRPr lang="ru-RU" sz="1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3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1080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latin typeface="+mn-lt"/>
                        </a:rPr>
                        <a:t>105 °C</a:t>
                      </a:r>
                    </a:p>
                  </a:txBody>
                  <a:tcPr anchor="ctr"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</a:rPr>
                        <a:t>Май 2015</a:t>
                      </a:r>
                    </a:p>
                  </a:txBody>
                  <a:tcPr anchor="ctr"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>
                          <a:solidFill>
                            <a:schemeClr val="tx1"/>
                          </a:solidFill>
                        </a:rPr>
                        <a:t>Сен 2015</a:t>
                      </a:r>
                      <a:endParaRPr lang="ru-RU" sz="1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</a:rPr>
                        <a:t>Янв 2016</a:t>
                      </a:r>
                      <a:endParaRPr lang="ru-RU" sz="1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10" name="Рисунок 9">
            <a:hlinkClick r:id="rId2"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453336"/>
            <a:ext cx="2526984" cy="29841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9" name="Slide Number Placeholder 7"/>
          <p:cNvSpPr>
            <a:spLocks noGrp="1"/>
          </p:cNvSpPr>
          <p:nvPr>
            <p:ph type="sldNum" sz="quarter" idx="12"/>
          </p:nvPr>
        </p:nvSpPr>
        <p:spPr>
          <a:ln>
            <a:miter lim="800000"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96A0D9A-3CF1-4F76-995A-89B18360366B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5</a:t>
            </a:fld>
            <a:endParaRPr lang="ru-RU" smtClean="0"/>
          </a:p>
        </p:txBody>
      </p:sp>
      <p:sp>
        <p:nvSpPr>
          <p:cNvPr id="12" name="Rectangle 29"/>
          <p:cNvSpPr>
            <a:spLocks noChangeArrowheads="1"/>
          </p:cNvSpPr>
          <p:nvPr/>
        </p:nvSpPr>
        <p:spPr bwMode="gray">
          <a:xfrm>
            <a:off x="6156176" y="837407"/>
            <a:ext cx="2600474" cy="287337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900" b="1" dirty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Arial"/>
              </a:rPr>
              <a:t>ДЛЯ ВНУТРЕННЕГО ИСПОЛЬЗОВАНИЯ</a:t>
            </a:r>
          </a:p>
        </p:txBody>
      </p:sp>
      <p:sp>
        <p:nvSpPr>
          <p:cNvPr id="22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OSRAM Opto Semiconductors| февраль 2015 г.</a:t>
            </a:r>
            <a:endParaRPr lang="ru-RU" dirty="0"/>
          </a:p>
        </p:txBody>
      </p:sp>
      <p:sp>
        <p:nvSpPr>
          <p:cNvPr id="23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Светодиодное растениеводческое освещение | OS SSL EEM | NR AW</a:t>
            </a:r>
            <a:endParaRPr lang="ru-RU" dirty="0"/>
          </a:p>
        </p:txBody>
      </p:sp>
      <p:sp>
        <p:nvSpPr>
          <p:cNvPr id="14438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smtClean="0"/>
              <a:t>OSLON</a:t>
            </a:r>
            <a:r>
              <a:rPr lang="de-DE" baseline="30000" smtClean="0"/>
              <a:t>®</a:t>
            </a:r>
            <a:r>
              <a:rPr lang="ru-RU" smtClean="0"/>
              <a:t> SSL </a:t>
            </a:r>
            <a:br>
              <a:rPr lang="ru-RU" smtClean="0"/>
            </a:br>
            <a:r>
              <a:rPr lang="ru-RU" smtClean="0"/>
              <a:t>Уникальное торговое предложение</a:t>
            </a:r>
          </a:p>
        </p:txBody>
      </p:sp>
      <p:pic>
        <p:nvPicPr>
          <p:cNvPr id="14439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1838" y="1989138"/>
            <a:ext cx="3840162" cy="2303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4391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59338" y="2181225"/>
            <a:ext cx="3394075" cy="218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4392" name="Rechteck 13"/>
          <p:cNvSpPr>
            <a:spLocks noChangeArrowheads="1"/>
          </p:cNvSpPr>
          <p:nvPr/>
        </p:nvSpPr>
        <p:spPr bwMode="auto">
          <a:xfrm>
            <a:off x="539750" y="1268413"/>
            <a:ext cx="32321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</a:pPr>
            <a:r>
              <a:rPr lang="en-US" b="1">
                <a:solidFill>
                  <a:srgbClr val="58585A"/>
                </a:solidFill>
              </a:rPr>
              <a:t>Обзор результатов испытаний по стандарту LM80 при токе 500 мА</a:t>
            </a:r>
            <a:endParaRPr lang="ru-RU" b="1">
              <a:solidFill>
                <a:srgbClr val="58585A"/>
              </a:solidFill>
            </a:endParaRPr>
          </a:p>
        </p:txBody>
      </p:sp>
      <p:sp>
        <p:nvSpPr>
          <p:cNvPr id="144394" name="Text Box 10"/>
          <p:cNvSpPr txBox="1">
            <a:spLocks noChangeArrowheads="1"/>
          </p:cNvSpPr>
          <p:nvPr/>
        </p:nvSpPr>
        <p:spPr bwMode="auto">
          <a:xfrm>
            <a:off x="611188" y="1989138"/>
            <a:ext cx="4392612" cy="177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36000">
            <a:spAutoFit/>
          </a:bodyPr>
          <a:lstStyle/>
          <a:p>
            <a:pPr>
              <a:lnSpc>
                <a:spcPct val="115000"/>
              </a:lnSpc>
              <a:spcBef>
                <a:spcPct val="50000"/>
              </a:spcBef>
            </a:pPr>
            <a:r>
              <a:rPr lang="ru-RU" sz="800"/>
              <a:t>Стабильность светового потока (</a:t>
            </a:r>
            <a:r>
              <a:rPr lang="en-US" sz="800"/>
              <a:t>I</a:t>
            </a:r>
            <a:r>
              <a:rPr lang="en-US" sz="800" baseline="-25000"/>
              <a:t>F</a:t>
            </a:r>
            <a:r>
              <a:rPr lang="en-US" sz="800"/>
              <a:t> = 500</a:t>
            </a:r>
            <a:r>
              <a:rPr lang="ru-RU" sz="800"/>
              <a:t> мА), нормализованная на исходное значение</a:t>
            </a:r>
          </a:p>
        </p:txBody>
      </p:sp>
      <p:sp>
        <p:nvSpPr>
          <p:cNvPr id="144395" name="Text Box 11"/>
          <p:cNvSpPr txBox="1">
            <a:spLocks noChangeArrowheads="1"/>
          </p:cNvSpPr>
          <p:nvPr/>
        </p:nvSpPr>
        <p:spPr bwMode="auto">
          <a:xfrm>
            <a:off x="2916238" y="4149725"/>
            <a:ext cx="431800" cy="177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36000">
            <a:spAutoFit/>
          </a:bodyPr>
          <a:lstStyle/>
          <a:p>
            <a:pPr algn="ctr">
              <a:lnSpc>
                <a:spcPct val="115000"/>
              </a:lnSpc>
              <a:spcBef>
                <a:spcPct val="50000"/>
              </a:spcBef>
            </a:pPr>
            <a:r>
              <a:rPr lang="ru-RU" sz="800"/>
              <a:t>Время, ч</a:t>
            </a:r>
          </a:p>
        </p:txBody>
      </p:sp>
      <p:sp>
        <p:nvSpPr>
          <p:cNvPr id="144396" name="Text Box 12"/>
          <p:cNvSpPr txBox="1">
            <a:spLocks noChangeArrowheads="1"/>
          </p:cNvSpPr>
          <p:nvPr/>
        </p:nvSpPr>
        <p:spPr bwMode="auto">
          <a:xfrm>
            <a:off x="6443663" y="4149725"/>
            <a:ext cx="431800" cy="177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36000">
            <a:spAutoFit/>
          </a:bodyPr>
          <a:lstStyle/>
          <a:p>
            <a:pPr algn="ctr">
              <a:lnSpc>
                <a:spcPct val="115000"/>
              </a:lnSpc>
              <a:spcBef>
                <a:spcPct val="50000"/>
              </a:spcBef>
            </a:pPr>
            <a:r>
              <a:rPr lang="ru-RU" sz="800"/>
              <a:t>Время, ч</a:t>
            </a:r>
          </a:p>
        </p:txBody>
      </p:sp>
      <p:sp>
        <p:nvSpPr>
          <p:cNvPr id="144398" name="Text Box 14"/>
          <p:cNvSpPr txBox="1">
            <a:spLocks noChangeArrowheads="1"/>
          </p:cNvSpPr>
          <p:nvPr/>
        </p:nvSpPr>
        <p:spPr bwMode="auto">
          <a:xfrm rot="16200000">
            <a:off x="556419" y="3124994"/>
            <a:ext cx="1728788" cy="177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36000">
            <a:spAutoFit/>
          </a:bodyPr>
          <a:lstStyle/>
          <a:p>
            <a:pPr algn="ctr">
              <a:lnSpc>
                <a:spcPct val="115000"/>
              </a:lnSpc>
              <a:spcBef>
                <a:spcPct val="50000"/>
              </a:spcBef>
            </a:pPr>
            <a:r>
              <a:rPr lang="ru-RU" sz="800"/>
              <a:t>Стабильность светового потока, %</a:t>
            </a:r>
          </a:p>
        </p:txBody>
      </p:sp>
      <p:sp>
        <p:nvSpPr>
          <p:cNvPr id="144399" name="Text Box 15"/>
          <p:cNvSpPr txBox="1">
            <a:spLocks noChangeArrowheads="1"/>
          </p:cNvSpPr>
          <p:nvPr/>
        </p:nvSpPr>
        <p:spPr bwMode="auto">
          <a:xfrm rot="16200000">
            <a:off x="4156869" y="3124994"/>
            <a:ext cx="1728788" cy="177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36000">
            <a:spAutoFit/>
          </a:bodyPr>
          <a:lstStyle/>
          <a:p>
            <a:pPr algn="ctr">
              <a:lnSpc>
                <a:spcPct val="115000"/>
              </a:lnSpc>
              <a:spcBef>
                <a:spcPct val="50000"/>
              </a:spcBef>
            </a:pPr>
            <a:r>
              <a:rPr lang="ru-RU" sz="800"/>
              <a:t>Стабильность светового потока, %</a:t>
            </a:r>
          </a:p>
        </p:txBody>
      </p:sp>
      <p:sp>
        <p:nvSpPr>
          <p:cNvPr id="144400" name="Text Box 16"/>
          <p:cNvSpPr txBox="1">
            <a:spLocks noChangeArrowheads="1"/>
          </p:cNvSpPr>
          <p:nvPr/>
        </p:nvSpPr>
        <p:spPr bwMode="auto">
          <a:xfrm>
            <a:off x="1979613" y="3500438"/>
            <a:ext cx="1223962" cy="47307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36000">
            <a:spAutoFit/>
          </a:bodyPr>
          <a:lstStyle/>
          <a:p>
            <a:pPr>
              <a:lnSpc>
                <a:spcPct val="115000"/>
              </a:lnSpc>
            </a:pPr>
            <a:r>
              <a:rPr lang="ru-RU" sz="500"/>
              <a:t>55 </a:t>
            </a:r>
            <a:r>
              <a:rPr lang="en-US" altLang="ja-JP" sz="500">
                <a:ea typeface="ＭＳ Ｐゴシック" charset="-128"/>
              </a:rPr>
              <a:t>°</a:t>
            </a:r>
            <a:r>
              <a:rPr lang="ru-RU" sz="500"/>
              <a:t>С / 500 мА</a:t>
            </a:r>
          </a:p>
          <a:p>
            <a:pPr>
              <a:lnSpc>
                <a:spcPct val="115000"/>
              </a:lnSpc>
            </a:pPr>
            <a:r>
              <a:rPr lang="ru-RU" sz="500"/>
              <a:t>85 </a:t>
            </a:r>
            <a:r>
              <a:rPr lang="en-US" altLang="ja-JP" sz="500">
                <a:ea typeface="ＭＳ Ｐゴシック" charset="-128"/>
              </a:rPr>
              <a:t>°</a:t>
            </a:r>
            <a:r>
              <a:rPr lang="ru-RU" sz="500"/>
              <a:t>С / 500 мА</a:t>
            </a:r>
          </a:p>
          <a:p>
            <a:pPr>
              <a:lnSpc>
                <a:spcPct val="115000"/>
              </a:lnSpc>
            </a:pPr>
            <a:r>
              <a:rPr lang="ru-RU" sz="500"/>
              <a:t>115 </a:t>
            </a:r>
            <a:r>
              <a:rPr lang="en-US" altLang="ja-JP" sz="500">
                <a:ea typeface="ＭＳ Ｐゴシック" charset="-128"/>
              </a:rPr>
              <a:t>°</a:t>
            </a:r>
            <a:r>
              <a:rPr lang="ru-RU" sz="500"/>
              <a:t>С / 500 мА</a:t>
            </a:r>
          </a:p>
          <a:p>
            <a:pPr>
              <a:lnSpc>
                <a:spcPct val="115000"/>
              </a:lnSpc>
            </a:pPr>
            <a:r>
              <a:rPr lang="ru-RU" sz="500"/>
              <a:t>Предел </a:t>
            </a:r>
            <a:r>
              <a:rPr lang="en-US" sz="500"/>
              <a:t>L</a:t>
            </a:r>
            <a:r>
              <a:rPr lang="ru-RU" sz="500"/>
              <a:t>70</a:t>
            </a:r>
            <a:r>
              <a:rPr lang="en-US" sz="500"/>
              <a:t> </a:t>
            </a:r>
            <a:r>
              <a:rPr lang="ru-RU" sz="500"/>
              <a:t>для 35 000 ч (</a:t>
            </a:r>
            <a:r>
              <a:rPr lang="en-US" sz="500"/>
              <a:t>EnergyStar</a:t>
            </a:r>
            <a:r>
              <a:rPr lang="ru-RU" sz="500"/>
              <a:t>)</a:t>
            </a:r>
          </a:p>
          <a:p>
            <a:pPr>
              <a:lnSpc>
                <a:spcPct val="115000"/>
              </a:lnSpc>
            </a:pPr>
            <a:r>
              <a:rPr lang="ru-RU" sz="500"/>
              <a:t>Предел </a:t>
            </a:r>
            <a:r>
              <a:rPr lang="en-US" sz="500"/>
              <a:t>L</a:t>
            </a:r>
            <a:r>
              <a:rPr lang="ru-RU" sz="500"/>
              <a:t>70</a:t>
            </a:r>
            <a:r>
              <a:rPr lang="en-US" sz="500"/>
              <a:t> </a:t>
            </a:r>
            <a:r>
              <a:rPr lang="ru-RU" sz="500"/>
              <a:t>для 25 000 ч (</a:t>
            </a:r>
            <a:r>
              <a:rPr lang="en-US" sz="500"/>
              <a:t>EnergyStar</a:t>
            </a:r>
            <a:r>
              <a:rPr lang="ru-RU" sz="500"/>
              <a:t>)</a:t>
            </a:r>
          </a:p>
        </p:txBody>
      </p:sp>
      <p:sp>
        <p:nvSpPr>
          <p:cNvPr id="144401" name="Text Box 17"/>
          <p:cNvSpPr txBox="1">
            <a:spLocks noChangeArrowheads="1"/>
          </p:cNvSpPr>
          <p:nvPr/>
        </p:nvSpPr>
        <p:spPr bwMode="auto">
          <a:xfrm>
            <a:off x="5435600" y="2997200"/>
            <a:ext cx="1152525" cy="101441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36000">
            <a:spAutoFit/>
          </a:bodyPr>
          <a:lstStyle/>
          <a:p>
            <a:pPr>
              <a:lnSpc>
                <a:spcPct val="160000"/>
              </a:lnSpc>
            </a:pPr>
            <a:r>
              <a:rPr lang="ru-RU" sz="500"/>
              <a:t>55 </a:t>
            </a:r>
            <a:r>
              <a:rPr lang="en-US" altLang="ja-JP" sz="500">
                <a:ea typeface="ＭＳ Ｐゴシック" charset="-128"/>
              </a:rPr>
              <a:t>°</a:t>
            </a:r>
            <a:r>
              <a:rPr lang="ru-RU" sz="500"/>
              <a:t>С / 500 мА</a:t>
            </a:r>
          </a:p>
          <a:p>
            <a:pPr>
              <a:lnSpc>
                <a:spcPct val="160000"/>
              </a:lnSpc>
            </a:pPr>
            <a:r>
              <a:rPr lang="ru-RU" sz="500"/>
              <a:t>85 </a:t>
            </a:r>
            <a:r>
              <a:rPr lang="en-US" altLang="ja-JP" sz="500">
                <a:ea typeface="ＭＳ Ｐゴシック" charset="-128"/>
              </a:rPr>
              <a:t>°</a:t>
            </a:r>
            <a:r>
              <a:rPr lang="ru-RU" sz="500"/>
              <a:t>С / 500 мА</a:t>
            </a:r>
          </a:p>
          <a:p>
            <a:pPr>
              <a:lnSpc>
                <a:spcPct val="160000"/>
              </a:lnSpc>
            </a:pPr>
            <a:r>
              <a:rPr lang="ru-RU" sz="500"/>
              <a:t>115 </a:t>
            </a:r>
            <a:r>
              <a:rPr lang="en-US" altLang="ja-JP" sz="500">
                <a:ea typeface="ＭＳ Ｐゴシック" charset="-128"/>
              </a:rPr>
              <a:t>°</a:t>
            </a:r>
            <a:r>
              <a:rPr lang="ru-RU" sz="500"/>
              <a:t>С / 500 мА</a:t>
            </a:r>
          </a:p>
          <a:p>
            <a:pPr>
              <a:lnSpc>
                <a:spcPct val="160000"/>
              </a:lnSpc>
            </a:pPr>
            <a:r>
              <a:rPr lang="en-US" sz="500"/>
              <a:t>TM-21 </a:t>
            </a:r>
            <a:r>
              <a:rPr lang="ru-RU" sz="500"/>
              <a:t>для 55 </a:t>
            </a:r>
            <a:r>
              <a:rPr lang="en-US" altLang="ja-JP" sz="500">
                <a:ea typeface="ＭＳ Ｐゴシック" charset="-128"/>
              </a:rPr>
              <a:t>°</a:t>
            </a:r>
            <a:r>
              <a:rPr lang="ru-RU" sz="500"/>
              <a:t>С</a:t>
            </a:r>
            <a:endParaRPr lang="en-US" sz="500"/>
          </a:p>
          <a:p>
            <a:pPr>
              <a:lnSpc>
                <a:spcPct val="160000"/>
              </a:lnSpc>
            </a:pPr>
            <a:r>
              <a:rPr lang="en-US" sz="500"/>
              <a:t>TM-21 </a:t>
            </a:r>
            <a:r>
              <a:rPr lang="ru-RU" sz="500"/>
              <a:t>для </a:t>
            </a:r>
            <a:r>
              <a:rPr lang="en-US" sz="500"/>
              <a:t>8</a:t>
            </a:r>
            <a:r>
              <a:rPr lang="ru-RU" sz="500"/>
              <a:t>5 </a:t>
            </a:r>
            <a:r>
              <a:rPr lang="en-US" altLang="ja-JP" sz="500">
                <a:ea typeface="ＭＳ Ｐゴシック" charset="-128"/>
              </a:rPr>
              <a:t>°</a:t>
            </a:r>
            <a:r>
              <a:rPr lang="ru-RU" sz="500"/>
              <a:t>С</a:t>
            </a:r>
            <a:endParaRPr lang="en-US" sz="500"/>
          </a:p>
          <a:p>
            <a:pPr>
              <a:lnSpc>
                <a:spcPct val="160000"/>
              </a:lnSpc>
            </a:pPr>
            <a:r>
              <a:rPr lang="en-US" sz="500"/>
              <a:t>TM-21 </a:t>
            </a:r>
            <a:r>
              <a:rPr lang="ru-RU" sz="500"/>
              <a:t>для</a:t>
            </a:r>
            <a:r>
              <a:rPr lang="en-US" sz="500"/>
              <a:t> 115</a:t>
            </a:r>
            <a:r>
              <a:rPr lang="ru-RU" sz="500"/>
              <a:t> </a:t>
            </a:r>
            <a:r>
              <a:rPr lang="en-US" altLang="ja-JP" sz="500">
                <a:ea typeface="ＭＳ Ｐゴシック" charset="-128"/>
              </a:rPr>
              <a:t>°</a:t>
            </a:r>
            <a:r>
              <a:rPr lang="ru-RU" sz="500"/>
              <a:t>С</a:t>
            </a:r>
          </a:p>
          <a:p>
            <a:pPr>
              <a:lnSpc>
                <a:spcPct val="160000"/>
              </a:lnSpc>
            </a:pPr>
            <a:r>
              <a:rPr lang="ru-RU" sz="500"/>
              <a:t>Предел </a:t>
            </a:r>
            <a:r>
              <a:rPr lang="en-US" sz="500"/>
              <a:t>L</a:t>
            </a:r>
            <a:r>
              <a:rPr lang="ru-RU" sz="500"/>
              <a:t>70</a:t>
            </a:r>
            <a:r>
              <a:rPr lang="en-US" sz="500"/>
              <a:t> </a:t>
            </a:r>
            <a:r>
              <a:rPr lang="ru-RU" sz="500"/>
              <a:t>для 35 000 ч (</a:t>
            </a:r>
            <a:r>
              <a:rPr lang="en-US" sz="500"/>
              <a:t>EnergyStar</a:t>
            </a:r>
            <a:r>
              <a:rPr lang="ru-RU" sz="500"/>
              <a:t>)</a:t>
            </a:r>
          </a:p>
          <a:p>
            <a:pPr>
              <a:lnSpc>
                <a:spcPct val="160000"/>
              </a:lnSpc>
            </a:pPr>
            <a:r>
              <a:rPr lang="ru-RU" sz="500"/>
              <a:t>Предел </a:t>
            </a:r>
            <a:r>
              <a:rPr lang="en-US" sz="500"/>
              <a:t>L</a:t>
            </a:r>
            <a:r>
              <a:rPr lang="ru-RU" sz="500"/>
              <a:t>70</a:t>
            </a:r>
            <a:r>
              <a:rPr lang="en-US" sz="500"/>
              <a:t> </a:t>
            </a:r>
            <a:r>
              <a:rPr lang="ru-RU" sz="500"/>
              <a:t>для 25 000 ч (</a:t>
            </a:r>
            <a:r>
              <a:rPr lang="en-US" sz="500"/>
              <a:t>EnergyStar</a:t>
            </a:r>
            <a:r>
              <a:rPr lang="ru-RU" sz="500"/>
              <a:t>)</a:t>
            </a:r>
          </a:p>
        </p:txBody>
      </p:sp>
      <p:pic>
        <p:nvPicPr>
          <p:cNvPr id="17" name="Рисунок 16">
            <a:hlinkClick r:id="rId4"/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453336"/>
            <a:ext cx="2526984" cy="29841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9" name="Slide Number Placeholder 7"/>
          <p:cNvSpPr>
            <a:spLocks noGrp="1"/>
          </p:cNvSpPr>
          <p:nvPr>
            <p:ph type="sldNum" sz="quarter" idx="12"/>
          </p:nvPr>
        </p:nvSpPr>
        <p:spPr>
          <a:ln>
            <a:miter lim="800000"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FBD36B0-4564-4E5C-8D6F-4D4DAF5C3BB0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6</a:t>
            </a:fld>
            <a:endParaRPr lang="ru-RU" smtClean="0"/>
          </a:p>
        </p:txBody>
      </p:sp>
      <p:sp>
        <p:nvSpPr>
          <p:cNvPr id="12" name="Rectangle 29"/>
          <p:cNvSpPr>
            <a:spLocks noChangeArrowheads="1"/>
          </p:cNvSpPr>
          <p:nvPr/>
        </p:nvSpPr>
        <p:spPr bwMode="gray">
          <a:xfrm>
            <a:off x="6156176" y="837407"/>
            <a:ext cx="2600474" cy="287337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900" b="1" dirty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Arial"/>
              </a:rPr>
              <a:t>ДЛЯ ВНУТРЕННЕГО ИСПОЛЬЗОВАНИЯ</a:t>
            </a:r>
          </a:p>
        </p:txBody>
      </p:sp>
      <p:sp>
        <p:nvSpPr>
          <p:cNvPr id="22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OSRAM Opto Semiconductors| февраль 2015 г.</a:t>
            </a:r>
            <a:endParaRPr lang="ru-RU" dirty="0"/>
          </a:p>
        </p:txBody>
      </p:sp>
      <p:sp>
        <p:nvSpPr>
          <p:cNvPr id="23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Светодиодное растениеводческое освещение | OS SSL EEM | NR AW</a:t>
            </a:r>
            <a:endParaRPr lang="ru-RU" dirty="0"/>
          </a:p>
        </p:txBody>
      </p:sp>
      <p:sp>
        <p:nvSpPr>
          <p:cNvPr id="145413" name="Title 1"/>
          <p:cNvSpPr>
            <a:spLocks noGrp="1"/>
          </p:cNvSpPr>
          <p:nvPr>
            <p:ph type="title"/>
          </p:nvPr>
        </p:nvSpPr>
        <p:spPr>
          <a:xfrm>
            <a:off x="539750" y="404813"/>
            <a:ext cx="7920038" cy="814387"/>
          </a:xfrm>
        </p:spPr>
        <p:txBody>
          <a:bodyPr/>
          <a:lstStyle/>
          <a:p>
            <a:pPr eaLnBrk="1" hangingPunct="1"/>
            <a:r>
              <a:rPr lang="ru-RU" sz="1800" smtClean="0"/>
              <a:t>OSLON</a:t>
            </a:r>
            <a:r>
              <a:rPr lang="de-DE" sz="1800" baseline="30000" smtClean="0"/>
              <a:t>®</a:t>
            </a:r>
            <a:r>
              <a:rPr lang="ru-RU" sz="1800" smtClean="0"/>
              <a:t> SSL </a:t>
            </a:r>
            <a:br>
              <a:rPr lang="ru-RU" sz="1800" smtClean="0"/>
            </a:br>
            <a:r>
              <a:rPr lang="ru-RU" sz="1800" smtClean="0"/>
              <a:t>Испытания по стандарту LM-80 (с разбивкой по типу и условиям)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611188" y="1412875"/>
          <a:ext cx="7920880" cy="2834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804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993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7201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7202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1463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4786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90694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85192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Продукты</a:t>
                      </a:r>
                      <a:endParaRPr lang="ru-RU" sz="1200" dirty="0"/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Ток</a:t>
                      </a:r>
                      <a:endParaRPr lang="ru-RU" sz="1200" dirty="0"/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Температура (Ts)</a:t>
                      </a:r>
                      <a:endParaRPr lang="ru-RU" sz="1200" dirty="0"/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3000 ч</a:t>
                      </a:r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6000 ч </a:t>
                      </a:r>
                      <a:endParaRPr lang="ru-RU" sz="1200" dirty="0"/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0 000 ч </a:t>
                      </a:r>
                      <a:endParaRPr lang="ru-RU" sz="1200" dirty="0"/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Примечания</a:t>
                      </a:r>
                      <a:endParaRPr lang="ru-RU" sz="1200" dirty="0"/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1080">
                <a:tc rowSpan="6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noProof="0" dirty="0" smtClean="0">
                          <a:solidFill>
                            <a:sysClr val="windowText" lastClr="000000"/>
                          </a:solidFill>
                        </a:rPr>
                        <a:t>LCW CxxP.EC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noProof="0" dirty="0" smtClean="0">
                          <a:solidFill>
                            <a:sysClr val="windowText" lastClr="000000"/>
                          </a:solidFill>
                        </a:rPr>
                        <a:t>2400...6500 К</a:t>
                      </a:r>
                    </a:p>
                  </a:txBody>
                  <a:tcPr anchor="ctr"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350 мА</a:t>
                      </a:r>
                      <a:endParaRPr lang="ru-RU" sz="1000" dirty="0"/>
                    </a:p>
                  </a:txBody>
                  <a:tcPr anchor="ctr"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latin typeface="+mn-lt"/>
                        </a:rPr>
                        <a:t>55 °C</a:t>
                      </a:r>
                    </a:p>
                  </a:txBody>
                  <a:tcPr anchor="ctr"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5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</a:rPr>
                        <a:t>L70(10 000) &gt; 60 000 ч</a:t>
                      </a:r>
                      <a:endParaRPr lang="ru-RU" sz="1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3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buFontTx/>
                        <a:buChar char="-"/>
                      </a:pPr>
                      <a:endParaRPr lang="en-US" sz="1000" baseline="0" dirty="0" smtClean="0">
                        <a:latin typeface="Arial"/>
                        <a:cs typeface="Arial"/>
                      </a:endParaRPr>
                    </a:p>
                  </a:txBody>
                  <a:tcPr anchor="ctr"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1080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latin typeface="+mn-lt"/>
                        </a:rPr>
                        <a:t>85 °C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5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</a:rPr>
                        <a:t>L70(10 000) = 54 000 ч</a:t>
                      </a:r>
                    </a:p>
                  </a:txBody>
                  <a:tcPr anchor="ctr">
                    <a:solidFill>
                      <a:schemeClr val="accent3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1080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latin typeface="+mn-lt"/>
                        </a:rPr>
                        <a:t>114 °C</a:t>
                      </a:r>
                    </a:p>
                  </a:txBody>
                  <a:tcPr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5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</a:rPr>
                        <a:t>L70(10 000) = 41 000 ч</a:t>
                      </a:r>
                    </a:p>
                  </a:txBody>
                  <a:tcPr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1080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/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500 мА</a:t>
                      </a:r>
                      <a:endParaRPr lang="ru-RU" sz="1000" dirty="0"/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latin typeface="+mn-lt"/>
                        </a:rPr>
                        <a:t>55 °C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5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</a:rPr>
                        <a:t>L70(15 000) = 76 000 ч</a:t>
                      </a:r>
                      <a:endParaRPr lang="ru-RU" sz="1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3">
                        <a:lumMod val="8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buFontTx/>
                        <a:buChar char="-"/>
                      </a:pPr>
                      <a:endParaRPr lang="en-US" sz="1000" baseline="0" dirty="0" smtClean="0">
                        <a:latin typeface="+mn-lt"/>
                        <a:cs typeface="Arial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1080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latin typeface="+mn-lt"/>
                        </a:rPr>
                        <a:t>85 °C</a:t>
                      </a: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5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</a:rPr>
                        <a:t>L70(15 000) = 51 000 ч</a:t>
                      </a:r>
                    </a:p>
                  </a:txBody>
                  <a:tcPr anchor="ctr">
                    <a:solidFill>
                      <a:schemeClr val="accent3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1080">
                <a:tc v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chemeClr val="dk1"/>
                          </a:solidFill>
                          <a:latin typeface="+mn-lt"/>
                        </a:rPr>
                        <a:t>118 °C</a:t>
                      </a:r>
                    </a:p>
                  </a:txBody>
                  <a:tcPr anchor="ctr"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5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smtClean="0">
                          <a:solidFill>
                            <a:schemeClr val="tx1"/>
                          </a:solidFill>
                        </a:rPr>
                        <a:t>L70(15 000) = 39 000 ч</a:t>
                      </a:r>
                    </a:p>
                  </a:txBody>
                  <a:tcPr anchor="ctr"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8" name="Рисунок 7">
            <a:hlinkClick r:id="rId2"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453336"/>
            <a:ext cx="2526984" cy="29841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9" name="Slide Number Placeholder 7"/>
          <p:cNvSpPr>
            <a:spLocks noGrp="1"/>
          </p:cNvSpPr>
          <p:nvPr>
            <p:ph type="sldNum" sz="quarter" idx="12"/>
          </p:nvPr>
        </p:nvSpPr>
        <p:spPr>
          <a:ln>
            <a:miter lim="800000"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31659A4-F3DA-4EFC-A282-506D8299D925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7</a:t>
            </a:fld>
            <a:endParaRPr lang="ru-RU" smtClean="0"/>
          </a:p>
        </p:txBody>
      </p:sp>
      <p:sp>
        <p:nvSpPr>
          <p:cNvPr id="12" name="Rectangle 29"/>
          <p:cNvSpPr>
            <a:spLocks noChangeArrowheads="1"/>
          </p:cNvSpPr>
          <p:nvPr/>
        </p:nvSpPr>
        <p:spPr bwMode="gray">
          <a:xfrm>
            <a:off x="6156176" y="837407"/>
            <a:ext cx="2600474" cy="287337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900" b="1" dirty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Arial"/>
              </a:rPr>
              <a:t>ДЛЯ ВНУТРЕННЕГО ИСПОЛЬЗОВАНИЯ</a:t>
            </a:r>
          </a:p>
        </p:txBody>
      </p:sp>
      <p:sp>
        <p:nvSpPr>
          <p:cNvPr id="22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OSRAM Opto Semiconductors| февраль 2015 г.</a:t>
            </a:r>
            <a:endParaRPr lang="ru-RU" dirty="0"/>
          </a:p>
        </p:txBody>
      </p:sp>
      <p:sp>
        <p:nvSpPr>
          <p:cNvPr id="23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Светодиодное растениеводческое освещение | OS SSL EEM | NR AW</a:t>
            </a:r>
            <a:endParaRPr lang="ru-RU" dirty="0"/>
          </a:p>
        </p:txBody>
      </p:sp>
      <p:sp>
        <p:nvSpPr>
          <p:cNvPr id="14643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smtClean="0"/>
              <a:t>OSLON</a:t>
            </a:r>
            <a:r>
              <a:rPr lang="de-DE" baseline="30000" smtClean="0"/>
              <a:t>®</a:t>
            </a:r>
            <a:r>
              <a:rPr lang="ru-RU" smtClean="0"/>
              <a:t> SSL </a:t>
            </a:r>
            <a:br>
              <a:rPr lang="ru-RU" smtClean="0"/>
            </a:br>
            <a:r>
              <a:rPr lang="ru-RU" smtClean="0"/>
              <a:t>Уникальное торговое предложение</a:t>
            </a:r>
          </a:p>
        </p:txBody>
      </p:sp>
      <p:sp>
        <p:nvSpPr>
          <p:cNvPr id="146438" name="Rechteck 13"/>
          <p:cNvSpPr>
            <a:spLocks noChangeArrowheads="1"/>
          </p:cNvSpPr>
          <p:nvPr/>
        </p:nvSpPr>
        <p:spPr bwMode="auto">
          <a:xfrm>
            <a:off x="539750" y="1268413"/>
            <a:ext cx="2347913" cy="373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</a:pPr>
            <a:r>
              <a:rPr lang="en-US" b="1">
                <a:solidFill>
                  <a:srgbClr val="58585A"/>
                </a:solidFill>
              </a:rPr>
              <a:t>Обзор результатов испытаний по стандарту LM80</a:t>
            </a:r>
            <a:endParaRPr lang="ru-RU" b="1">
              <a:solidFill>
                <a:srgbClr val="58585A"/>
              </a:solidFill>
            </a:endParaRPr>
          </a:p>
        </p:txBody>
      </p:sp>
      <p:pic>
        <p:nvPicPr>
          <p:cNvPr id="146440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4213" y="1773238"/>
            <a:ext cx="4978400" cy="3460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6442" name="Text Box 10"/>
          <p:cNvSpPr txBox="1">
            <a:spLocks noChangeArrowheads="1"/>
          </p:cNvSpPr>
          <p:nvPr/>
        </p:nvSpPr>
        <p:spPr bwMode="auto">
          <a:xfrm>
            <a:off x="611188" y="2133600"/>
            <a:ext cx="4321175" cy="177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36000">
            <a:spAutoFit/>
          </a:bodyPr>
          <a:lstStyle/>
          <a:p>
            <a:pPr>
              <a:lnSpc>
                <a:spcPct val="115000"/>
              </a:lnSpc>
              <a:spcBef>
                <a:spcPct val="50000"/>
              </a:spcBef>
            </a:pPr>
            <a:r>
              <a:rPr lang="ru-RU" sz="800"/>
              <a:t>Стабильность светового потока (</a:t>
            </a:r>
            <a:r>
              <a:rPr lang="en-US" sz="800"/>
              <a:t>I</a:t>
            </a:r>
            <a:r>
              <a:rPr lang="en-US" sz="800" baseline="-25000"/>
              <a:t>F</a:t>
            </a:r>
            <a:r>
              <a:rPr lang="en-US" sz="800"/>
              <a:t> = 500</a:t>
            </a:r>
            <a:r>
              <a:rPr lang="ru-RU" sz="800"/>
              <a:t> мА), нормализованная на исходное значение</a:t>
            </a:r>
          </a:p>
        </p:txBody>
      </p:sp>
      <p:sp>
        <p:nvSpPr>
          <p:cNvPr id="146443" name="Text Box 11"/>
          <p:cNvSpPr txBox="1">
            <a:spLocks noChangeArrowheads="1"/>
          </p:cNvSpPr>
          <p:nvPr/>
        </p:nvSpPr>
        <p:spPr bwMode="auto">
          <a:xfrm>
            <a:off x="3203575" y="4941888"/>
            <a:ext cx="574675" cy="177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36000">
            <a:spAutoFit/>
          </a:bodyPr>
          <a:lstStyle/>
          <a:p>
            <a:pPr algn="ctr">
              <a:lnSpc>
                <a:spcPct val="115000"/>
              </a:lnSpc>
              <a:spcBef>
                <a:spcPct val="50000"/>
              </a:spcBef>
            </a:pPr>
            <a:r>
              <a:rPr lang="ru-RU" sz="800"/>
              <a:t>Время, ч</a:t>
            </a:r>
          </a:p>
        </p:txBody>
      </p:sp>
      <p:sp>
        <p:nvSpPr>
          <p:cNvPr id="146444" name="Text Box 12"/>
          <p:cNvSpPr txBox="1">
            <a:spLocks noChangeArrowheads="1"/>
          </p:cNvSpPr>
          <p:nvPr/>
        </p:nvSpPr>
        <p:spPr bwMode="auto">
          <a:xfrm rot="16200000">
            <a:off x="411956" y="3483769"/>
            <a:ext cx="1728788" cy="177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36000">
            <a:spAutoFit/>
          </a:bodyPr>
          <a:lstStyle/>
          <a:p>
            <a:pPr algn="ctr">
              <a:lnSpc>
                <a:spcPct val="115000"/>
              </a:lnSpc>
              <a:spcBef>
                <a:spcPct val="50000"/>
              </a:spcBef>
            </a:pPr>
            <a:r>
              <a:rPr lang="ru-RU" sz="800"/>
              <a:t>Стабильность светового потока, %</a:t>
            </a:r>
          </a:p>
        </p:txBody>
      </p:sp>
      <p:sp>
        <p:nvSpPr>
          <p:cNvPr id="146445" name="Text Box 13"/>
          <p:cNvSpPr txBox="1">
            <a:spLocks noChangeArrowheads="1"/>
          </p:cNvSpPr>
          <p:nvPr/>
        </p:nvSpPr>
        <p:spPr bwMode="auto">
          <a:xfrm>
            <a:off x="1908175" y="4149725"/>
            <a:ext cx="935038" cy="5254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36000">
            <a:spAutoFit/>
          </a:bodyPr>
          <a:lstStyle/>
          <a:p>
            <a:pPr>
              <a:lnSpc>
                <a:spcPct val="160000"/>
              </a:lnSpc>
            </a:pPr>
            <a:r>
              <a:rPr lang="ru-RU" sz="500"/>
              <a:t>55 </a:t>
            </a:r>
            <a:r>
              <a:rPr lang="en-US" altLang="ja-JP" sz="500">
                <a:ea typeface="ＭＳ Ｐゴシック" charset="-128"/>
              </a:rPr>
              <a:t>°</a:t>
            </a:r>
            <a:r>
              <a:rPr lang="ru-RU" sz="500"/>
              <a:t>С / 500 мА</a:t>
            </a:r>
          </a:p>
          <a:p>
            <a:pPr>
              <a:lnSpc>
                <a:spcPct val="160000"/>
              </a:lnSpc>
            </a:pPr>
            <a:r>
              <a:rPr lang="ru-RU" sz="500"/>
              <a:t>85 </a:t>
            </a:r>
            <a:r>
              <a:rPr lang="en-US" altLang="ja-JP" sz="500">
                <a:ea typeface="ＭＳ Ｐゴシック" charset="-128"/>
              </a:rPr>
              <a:t>°</a:t>
            </a:r>
            <a:r>
              <a:rPr lang="ru-RU" sz="500"/>
              <a:t>С / 500 мА</a:t>
            </a:r>
          </a:p>
          <a:p>
            <a:pPr>
              <a:lnSpc>
                <a:spcPct val="160000"/>
              </a:lnSpc>
            </a:pPr>
            <a:r>
              <a:rPr lang="ru-RU" sz="500"/>
              <a:t>115 </a:t>
            </a:r>
            <a:r>
              <a:rPr lang="en-US" altLang="ja-JP" sz="500">
                <a:ea typeface="ＭＳ Ｐゴシック" charset="-128"/>
              </a:rPr>
              <a:t>°</a:t>
            </a:r>
            <a:r>
              <a:rPr lang="ru-RU" sz="500"/>
              <a:t>С / 500 мА</a:t>
            </a:r>
          </a:p>
          <a:p>
            <a:pPr>
              <a:lnSpc>
                <a:spcPct val="160000"/>
              </a:lnSpc>
            </a:pPr>
            <a:r>
              <a:rPr lang="en-US" sz="500"/>
              <a:t>L</a:t>
            </a:r>
            <a:r>
              <a:rPr lang="ru-RU" sz="500"/>
              <a:t>70 — окончание срока службы</a:t>
            </a:r>
          </a:p>
        </p:txBody>
      </p:sp>
      <p:sp>
        <p:nvSpPr>
          <p:cNvPr id="146446" name="Text Box 14"/>
          <p:cNvSpPr txBox="1">
            <a:spLocks noChangeArrowheads="1"/>
          </p:cNvSpPr>
          <p:nvPr/>
        </p:nvSpPr>
        <p:spPr bwMode="auto">
          <a:xfrm>
            <a:off x="5867400" y="3933825"/>
            <a:ext cx="29527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ru-RU"/>
          </a:p>
        </p:txBody>
      </p:sp>
      <p:graphicFrame>
        <p:nvGraphicFramePr>
          <p:cNvPr id="146619" name="Group 187"/>
          <p:cNvGraphicFramePr>
            <a:graphicFrameLocks noGrp="1"/>
          </p:cNvGraphicFramePr>
          <p:nvPr/>
        </p:nvGraphicFramePr>
        <p:xfrm>
          <a:off x="5435600" y="2060575"/>
          <a:ext cx="3455988" cy="1945323"/>
        </p:xfrm>
        <a:graphic>
          <a:graphicData uri="http://schemas.openxmlformats.org/drawingml/2006/table">
            <a:tbl>
              <a:tblPr/>
              <a:tblGrid>
                <a:gridCol w="10398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429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921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810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84150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I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II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3375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Температура корпуса (точки пайки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</a:t>
                      </a:r>
                      <a:r>
                        <a:rPr kumimoji="0" lang="en-US" sz="700" b="0" i="0" u="none" strike="noStrike" cap="none" normalizeH="0" baseline="-30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</a:t>
                      </a:r>
                      <a:r>
                        <a:rPr kumimoji="0" lang="en-US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= 55 °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</a:t>
                      </a:r>
                      <a:r>
                        <a:rPr kumimoji="0" lang="en-US" sz="700" b="0" i="0" u="none" strike="noStrike" cap="none" normalizeH="0" baseline="-30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</a:t>
                      </a:r>
                      <a:r>
                        <a:rPr kumimoji="0" lang="en-US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= 85 °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</a:t>
                      </a:r>
                      <a:r>
                        <a:rPr kumimoji="0" lang="en-US" sz="700" b="0" i="0" u="none" strike="noStrike" cap="none" normalizeH="0" baseline="-30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</a:t>
                      </a:r>
                      <a:r>
                        <a:rPr kumimoji="0" lang="en-US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= 118 °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5263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Рабочий ток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</a:t>
                      </a:r>
                      <a:r>
                        <a:rPr kumimoji="0" lang="en-US" sz="700" b="0" i="0" u="none" strike="noStrike" cap="none" normalizeH="0" baseline="-30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</a:t>
                      </a:r>
                      <a:r>
                        <a:rPr kumimoji="0" lang="en-US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= 700 мА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</a:t>
                      </a:r>
                      <a:r>
                        <a:rPr kumimoji="0" lang="en-US" sz="700" b="0" i="0" u="none" strike="noStrike" cap="none" normalizeH="0" baseline="-30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</a:t>
                      </a:r>
                      <a:r>
                        <a:rPr kumimoji="0" lang="en-US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= 700 мА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</a:t>
                      </a:r>
                      <a:r>
                        <a:rPr kumimoji="0" lang="en-US" sz="700" b="0" i="0" u="none" strike="noStrike" cap="none" normalizeH="0" baseline="-30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</a:t>
                      </a:r>
                      <a:r>
                        <a:rPr kumimoji="0" lang="en-US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 = 500 мА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3675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Кол-во образцов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5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5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5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5263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ачало испытания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9.08.2009 г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9.08.2009 г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9.08.2009 г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0038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Длительность испытания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 000 ч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 000 ч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 000 ч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36563"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Кол-во отказов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 (подробнее см. в разделе 10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7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46620" name="Text Box 188"/>
          <p:cNvSpPr txBox="1">
            <a:spLocks noChangeArrowheads="1"/>
          </p:cNvSpPr>
          <p:nvPr/>
        </p:nvSpPr>
        <p:spPr bwMode="auto">
          <a:xfrm>
            <a:off x="611188" y="1844675"/>
            <a:ext cx="4321175" cy="177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36000">
            <a:spAutoFit/>
          </a:bodyPr>
          <a:lstStyle/>
          <a:p>
            <a:pPr>
              <a:lnSpc>
                <a:spcPct val="115000"/>
              </a:lnSpc>
              <a:spcBef>
                <a:spcPct val="50000"/>
              </a:spcBef>
            </a:pPr>
            <a:endParaRPr lang="ru-RU" sz="800"/>
          </a:p>
        </p:txBody>
      </p:sp>
      <p:pic>
        <p:nvPicPr>
          <p:cNvPr id="16" name="Рисунок 15">
            <a:hlinkClick r:id="rId3"/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453336"/>
            <a:ext cx="2526984" cy="29841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457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 smtClean="0"/>
              <a:t>Приложение</a:t>
            </a:r>
          </a:p>
        </p:txBody>
      </p:sp>
      <p:pic>
        <p:nvPicPr>
          <p:cNvPr id="4" name="Рисунок 3">
            <a:hlinkClick r:id="rId2"/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4445258"/>
            <a:ext cx="1080120" cy="1432014"/>
          </a:xfrm>
          <a:prstGeom prst="rect">
            <a:avLst/>
          </a:prstGeom>
        </p:spPr>
      </p:pic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1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Термины и определения</a:t>
            </a:r>
            <a:br>
              <a:rPr lang="ru-RU" smtClean="0"/>
            </a:br>
            <a:endParaRPr lang="ru-RU" smtClean="0"/>
          </a:p>
        </p:txBody>
      </p:sp>
      <p:sp>
        <p:nvSpPr>
          <p:cNvPr id="148482" name="Inhaltsplatzhalter 2"/>
          <p:cNvSpPr>
            <a:spLocks noGrp="1"/>
          </p:cNvSpPr>
          <p:nvPr>
            <p:ph idx="1"/>
          </p:nvPr>
        </p:nvSpPr>
        <p:spPr>
          <a:xfrm>
            <a:off x="539750" y="1412875"/>
            <a:ext cx="8064500" cy="4808538"/>
          </a:xfrm>
        </p:spPr>
        <p:txBody>
          <a:bodyPr/>
          <a:lstStyle/>
          <a:p>
            <a:pPr marL="0" indent="0">
              <a:spcAft>
                <a:spcPct val="50000"/>
              </a:spcAft>
            </a:pPr>
            <a:r>
              <a:rPr lang="en-US" sz="1200" smtClean="0"/>
              <a:t>Радиометрия:</a:t>
            </a:r>
            <a:r>
              <a:rPr lang="en-US" sz="1200" b="0" smtClean="0"/>
              <a:t> </a:t>
            </a:r>
            <a:r>
              <a:rPr lang="en-US" sz="1200" b="0" smtClean="0">
                <a:solidFill>
                  <a:schemeClr val="tx1"/>
                </a:solidFill>
              </a:rPr>
              <a:t>совокупность методов измерения параметров электромагнитного излучения (ЭМИ) на всем протяжении его спектра.</a:t>
            </a:r>
          </a:p>
          <a:p>
            <a:pPr marL="0" indent="0">
              <a:spcAft>
                <a:spcPct val="50000"/>
              </a:spcAft>
            </a:pPr>
            <a:r>
              <a:rPr lang="en-US" sz="1200" smtClean="0"/>
              <a:t>Фотометрия:</a:t>
            </a:r>
            <a:r>
              <a:rPr lang="en-US" sz="1200" b="0" smtClean="0"/>
              <a:t> </a:t>
            </a:r>
            <a:r>
              <a:rPr lang="en-US" sz="1200" b="0" smtClean="0">
                <a:solidFill>
                  <a:schemeClr val="tx1"/>
                </a:solidFill>
              </a:rPr>
              <a:t>подраздел радиометрии, имеющий дело с той частью спектра, которая воспринимается человеческим глазом.</a:t>
            </a:r>
          </a:p>
          <a:p>
            <a:pPr marL="0" indent="0">
              <a:spcAft>
                <a:spcPct val="50000"/>
              </a:spcAft>
            </a:pPr>
            <a:r>
              <a:rPr lang="en-US" sz="1200" smtClean="0"/>
              <a:t>Поток фотонов:</a:t>
            </a:r>
            <a:r>
              <a:rPr lang="en-US" sz="1200" b="0" smtClean="0"/>
              <a:t> </a:t>
            </a:r>
            <a:r>
              <a:rPr lang="en-US" sz="1200" b="0" smtClean="0">
                <a:solidFill>
                  <a:schemeClr val="tx1"/>
                </a:solidFill>
              </a:rPr>
              <a:t>количество фотонов в заданном спектральном диапазоне в единицу времени. Тот же параметр, ограниченный диапазоном длин волн 400–700 нм, называется фотосинтетическим потоком фотонов (ФПФ).</a:t>
            </a:r>
          </a:p>
          <a:p>
            <a:pPr marL="0" indent="0">
              <a:spcAft>
                <a:spcPct val="50000"/>
              </a:spcAft>
            </a:pPr>
            <a:r>
              <a:rPr lang="en-GB" sz="1200" smtClean="0"/>
              <a:t>Моль, ммоль, мкмоль: </a:t>
            </a:r>
            <a:r>
              <a:rPr lang="en-GB" sz="1200" b="0" smtClean="0">
                <a:solidFill>
                  <a:schemeClr val="tx1"/>
                </a:solidFill>
              </a:rPr>
              <a:t>в химии — единица измерения количества частиц вещества (атомов, молекул, электронов и т. п.; в растениеводческом освещении — фотонов). По определению число фотонов в моле равняется 6,022 x 10</a:t>
            </a:r>
            <a:r>
              <a:rPr lang="en-GB" sz="1200" b="0" baseline="30000" smtClean="0">
                <a:solidFill>
                  <a:schemeClr val="tx1"/>
                </a:solidFill>
              </a:rPr>
              <a:t>23</a:t>
            </a:r>
            <a:r>
              <a:rPr lang="en-GB" sz="1200" b="0" smtClean="0">
                <a:solidFill>
                  <a:schemeClr val="tx1"/>
                </a:solidFill>
              </a:rPr>
              <a:t> (число Авогадро).</a:t>
            </a:r>
            <a:r>
              <a:rPr lang="ru-RU" smtClean="0"/>
              <a:t/>
            </a:r>
            <a:br>
              <a:rPr lang="ru-RU" smtClean="0"/>
            </a:br>
            <a:r>
              <a:rPr lang="en-GB" sz="1200" smtClean="0"/>
              <a:t>Фотон: </a:t>
            </a:r>
            <a:r>
              <a:rPr lang="en-GB" sz="1200" b="0" smtClean="0">
                <a:solidFill>
                  <a:schemeClr val="tx1"/>
                </a:solidFill>
              </a:rPr>
              <a:t>дискретная порция, или квант электромагнитного излучения (света). Может считаться частицей, хотя проявляет и волновые свойства. Энергия фотона зависит от его длины волны. Если известны энергия и длина волны, можно подсчитать число фотонов.</a:t>
            </a:r>
            <a:r>
              <a:rPr lang="ru-RU" smtClean="0"/>
              <a:t/>
            </a:r>
            <a:br>
              <a:rPr lang="ru-RU" smtClean="0"/>
            </a:br>
            <a:endParaRPr lang="ru-RU" sz="700" smtClean="0"/>
          </a:p>
          <a:p>
            <a:pPr marL="0" indent="0">
              <a:spcAft>
                <a:spcPct val="50000"/>
              </a:spcAft>
            </a:pPr>
            <a:r>
              <a:rPr lang="en-GB" sz="1200" smtClean="0"/>
              <a:t>Фотосинтетически активная радиация (ФАР): </a:t>
            </a:r>
            <a:r>
              <a:rPr lang="en-GB" sz="1200" b="0" smtClean="0">
                <a:solidFill>
                  <a:schemeClr val="tx1"/>
                </a:solidFill>
              </a:rPr>
              <a:t>электромагнитное излучение в диапазоне длин волн 400–700 нм. Излучение в этой спектральной области наиболее активно способствует фотосинтезу в растениях.</a:t>
            </a:r>
            <a:r>
              <a:rPr lang="ru-RU" smtClean="0"/>
              <a:t/>
            </a:r>
            <a:br>
              <a:rPr lang="ru-RU" smtClean="0"/>
            </a:br>
            <a:endParaRPr lang="ru-RU" sz="700" smtClean="0"/>
          </a:p>
          <a:p>
            <a:pPr marL="0" indent="0">
              <a:spcAft>
                <a:spcPct val="50000"/>
              </a:spcAft>
            </a:pPr>
            <a:r>
              <a:rPr lang="en-GB" sz="1200" smtClean="0"/>
              <a:t>Плотность фотосинтетического потока фотонов (ФПФ): </a:t>
            </a:r>
            <a:r>
              <a:rPr lang="en-GB" sz="1200" b="0" smtClean="0">
                <a:solidFill>
                  <a:schemeClr val="tx1"/>
                </a:solidFill>
              </a:rPr>
              <a:t>поток электромагнитного излучения в диапазоне длин волн 400–700 нм через единицу поверхности в единицу времени.</a:t>
            </a:r>
          </a:p>
          <a:p>
            <a:pPr marL="0" indent="0">
              <a:spcAft>
                <a:spcPct val="130000"/>
              </a:spcAft>
            </a:pPr>
            <a:endParaRPr lang="ru-RU" sz="1200" smtClean="0"/>
          </a:p>
        </p:txBody>
      </p:sp>
      <p:pic>
        <p:nvPicPr>
          <p:cNvPr id="4" name="Рисунок 3">
            <a:hlinkClick r:id="rId2"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453336"/>
            <a:ext cx="2526984" cy="29841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3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Растениеводческое освещение</a:t>
            </a:r>
            <a:br>
              <a:rPr lang="ru-RU" smtClean="0"/>
            </a:br>
            <a:r>
              <a:rPr lang="ru-RU" smtClean="0"/>
              <a:t>Как свет влияет на рост растений?</a:t>
            </a:r>
          </a:p>
        </p:txBody>
      </p:sp>
      <p:sp>
        <p:nvSpPr>
          <p:cNvPr id="105474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/>
            <a:r>
              <a:rPr lang="ru-RU" smtClean="0"/>
              <a:t> </a:t>
            </a:r>
          </a:p>
          <a:p>
            <a:pPr marL="0" indent="0">
              <a:buFontTx/>
              <a:buChar char="•"/>
            </a:pPr>
            <a:r>
              <a:rPr lang="ru-RU" smtClean="0"/>
              <a:t> Количество света</a:t>
            </a:r>
          </a:p>
          <a:p>
            <a:pPr lvl="1" indent="0"/>
            <a:r>
              <a:rPr lang="ru-RU" smtClean="0"/>
              <a:t>Количество света влияет на процесс фотосинтеза в растении. Фотосинтез — это фотохимическая реакция в хлоропластах клеток растения, в ходе которой CO</a:t>
            </a:r>
            <a:r>
              <a:rPr lang="ru-RU" baseline="-25000" smtClean="0"/>
              <a:t>2</a:t>
            </a:r>
            <a:r>
              <a:rPr lang="ru-RU" smtClean="0"/>
              <a:t> превращается в углеводороды под воздействием световой энергии.</a:t>
            </a:r>
          </a:p>
          <a:p>
            <a:pPr marL="0" indent="0">
              <a:buFontTx/>
              <a:buChar char="•"/>
            </a:pPr>
            <a:endParaRPr lang="ru-RU" smtClean="0"/>
          </a:p>
          <a:p>
            <a:pPr marL="0" indent="0">
              <a:buFontTx/>
              <a:buChar char="•"/>
            </a:pPr>
            <a:r>
              <a:rPr lang="ru-RU" smtClean="0"/>
              <a:t> Спектральное качество света</a:t>
            </a:r>
          </a:p>
          <a:p>
            <a:pPr lvl="1" indent="0"/>
            <a:r>
              <a:rPr lang="ru-RU" smtClean="0"/>
              <a:t>Спектральный состав света (содержание в нем синих, зеленых, желтых, красных, дальних красных, ультрафиолетовых и инфракрасных, составляющих) важен для роста, формирования, развития и цветения (фотоморфогенеза) растений. Для фотосинтеза наиболее важны синий и красный участки видимого спектра.</a:t>
            </a:r>
          </a:p>
          <a:p>
            <a:pPr marL="0" indent="0">
              <a:buFontTx/>
              <a:buChar char="•"/>
            </a:pPr>
            <a:endParaRPr lang="ru-RU" smtClean="0"/>
          </a:p>
          <a:p>
            <a:pPr marL="0" indent="0">
              <a:buFontTx/>
              <a:buChar char="•"/>
            </a:pPr>
            <a:r>
              <a:rPr lang="ru-RU" smtClean="0"/>
              <a:t> Световой период</a:t>
            </a:r>
          </a:p>
          <a:p>
            <a:pPr lvl="1" indent="0"/>
            <a:r>
              <a:rPr lang="ru-RU" smtClean="0"/>
              <a:t>Световой период (фотопериод), т. е. время в течение суток, на протяжение которого растение освещено, влияет в основном на цветение. Регулируя световой период, можно воздействовать на сроки цветения.</a:t>
            </a:r>
          </a:p>
          <a:p>
            <a:pPr marL="0" indent="0">
              <a:buFontTx/>
              <a:buChar char="•"/>
            </a:pPr>
            <a:endParaRPr lang="ru-RU" smtClean="0"/>
          </a:p>
        </p:txBody>
      </p:sp>
      <p:sp>
        <p:nvSpPr>
          <p:cNvPr id="105475" name="Textfeld 3"/>
          <p:cNvSpPr txBox="1">
            <a:spLocks noChangeArrowheads="1"/>
          </p:cNvSpPr>
          <p:nvPr/>
        </p:nvSpPr>
        <p:spPr bwMode="auto">
          <a:xfrm>
            <a:off x="539750" y="6021388"/>
            <a:ext cx="1123950" cy="249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000" b="1"/>
              <a:t>Источник: [0];[18]</a:t>
            </a:r>
          </a:p>
        </p:txBody>
      </p:sp>
      <p:pic>
        <p:nvPicPr>
          <p:cNvPr id="7" name="Рисунок 6">
            <a:hlinkClick r:id="rId3"/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453336"/>
            <a:ext cx="2526984" cy="298413"/>
          </a:xfrm>
          <a:prstGeom prst="rect">
            <a:avLst/>
          </a:prstGeom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505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Термины и определения</a:t>
            </a:r>
            <a:br>
              <a:rPr lang="ru-RU" smtClean="0"/>
            </a:br>
            <a:endParaRPr lang="ru-RU" smtClean="0"/>
          </a:p>
        </p:txBody>
      </p:sp>
      <p:sp>
        <p:nvSpPr>
          <p:cNvPr id="149506" name="Inhaltsplatzhalter 2"/>
          <p:cNvSpPr>
            <a:spLocks noGrp="1"/>
          </p:cNvSpPr>
          <p:nvPr>
            <p:ph idx="1"/>
          </p:nvPr>
        </p:nvSpPr>
        <p:spPr>
          <a:xfrm>
            <a:off x="539750" y="1341438"/>
            <a:ext cx="8064500" cy="4808537"/>
          </a:xfrm>
        </p:spPr>
        <p:txBody>
          <a:bodyPr/>
          <a:lstStyle/>
          <a:p>
            <a:pPr marL="0" indent="0">
              <a:spcAft>
                <a:spcPct val="50000"/>
              </a:spcAft>
            </a:pPr>
            <a:r>
              <a:rPr lang="en-US" sz="1200" smtClean="0"/>
              <a:t>Фотосинтез: </a:t>
            </a:r>
            <a:r>
              <a:rPr lang="en-US" sz="1200" b="0" smtClean="0">
                <a:solidFill>
                  <a:schemeClr val="tx1"/>
                </a:solidFill>
              </a:rPr>
              <a:t>процесс, посредством которого растения и другие организмы преобразуют свет в химическую энергию, которая может затем расходоваться организмом для своей жизнедеятельности. Эта химическая энергия запасается в углеводородных молекулах, например в сахарах, которые синтезируются из двуокиси углерода и воды.</a:t>
            </a:r>
          </a:p>
          <a:p>
            <a:pPr marL="0" indent="0">
              <a:spcAft>
                <a:spcPct val="50000"/>
              </a:spcAft>
            </a:pPr>
            <a:r>
              <a:rPr lang="en-US" sz="1200" smtClean="0"/>
              <a:t>Прорастание:</a:t>
            </a:r>
            <a:r>
              <a:rPr lang="en-US" sz="1200" b="0" smtClean="0">
                <a:solidFill>
                  <a:schemeClr val="tx1"/>
                </a:solidFill>
              </a:rPr>
              <a:t> процесс прорастания растений (всхода рассады) из семян.</a:t>
            </a:r>
            <a:r>
              <a:rPr lang="ru-RU" smtClean="0"/>
              <a:t> </a:t>
            </a:r>
          </a:p>
          <a:p>
            <a:pPr marL="0" indent="0">
              <a:spcAft>
                <a:spcPct val="50000"/>
              </a:spcAft>
            </a:pPr>
            <a:r>
              <a:rPr lang="en-US" sz="1200" smtClean="0"/>
              <a:t>Вегетативный рост: </a:t>
            </a:r>
            <a:r>
              <a:rPr lang="en-US" sz="1200" b="0" smtClean="0">
                <a:solidFill>
                  <a:schemeClr val="tx1"/>
                </a:solidFill>
              </a:rPr>
              <a:t>этап от прорастания до цветения. Называется также вегетативной фазой развития растения. На этой фазе в растениях происходит фотосинтез и накопление ресурсов, которые позднее будут использоваться для цветения и размножения.</a:t>
            </a:r>
            <a:endParaRPr lang="ru-RU" sz="1200" smtClean="0"/>
          </a:p>
          <a:p>
            <a:pPr marL="0" indent="0">
              <a:spcAft>
                <a:spcPct val="50000"/>
              </a:spcAft>
            </a:pPr>
            <a:r>
              <a:rPr lang="de-DE" sz="1200" smtClean="0"/>
              <a:t>Фотоморфогенез: </a:t>
            </a:r>
            <a:r>
              <a:rPr lang="en-US" sz="1200" b="0" smtClean="0">
                <a:solidFill>
                  <a:schemeClr val="tx1"/>
                </a:solidFill>
              </a:rPr>
              <a:t>поскольку свет служит источником энергии для роста, растения выработали чрезвычайно чувствительные механизмы восприятия света и использования световой информации. Эти механизмы воздействуют на развитие растения, обеспечивая максимально полное использование света для фотосинтеза. Процессы, происходящие в растении под действием света, называются фотоморфогенезом. Обычно фотоморфогенетические реакции наиболее очевидны при прорастании, но свет влияет на развитие растения самыми разными способами на всех его стадиях. </a:t>
            </a:r>
          </a:p>
          <a:p>
            <a:pPr marL="0" indent="0">
              <a:spcAft>
                <a:spcPct val="50000"/>
              </a:spcAft>
            </a:pPr>
            <a:r>
              <a:rPr lang="en-US" sz="1200" smtClean="0"/>
              <a:t>Цветение: </a:t>
            </a:r>
            <a:r>
              <a:rPr lang="en-US" sz="1200" b="0" smtClean="0">
                <a:solidFill>
                  <a:schemeClr val="tx1"/>
                </a:solidFill>
              </a:rPr>
              <a:t>переход к цветению — одно из главных превращений, которые претерпевает растение на протяжении своего жизненного цикла. Переход к цветению должен происходить в момент, благоприятный для оплодотворения и образования семян. Основополагающее значение для цветения имеет правильный выбор светового периода.</a:t>
            </a:r>
          </a:p>
          <a:p>
            <a:pPr marL="0" indent="0">
              <a:spcAft>
                <a:spcPct val="50000"/>
              </a:spcAft>
            </a:pPr>
            <a:r>
              <a:rPr lang="en-US" sz="1200" smtClean="0"/>
              <a:t>Этиоляция: </a:t>
            </a:r>
            <a:r>
              <a:rPr lang="en-US" sz="1200" b="0" smtClean="0">
                <a:solidFill>
                  <a:schemeClr val="tx1"/>
                </a:solidFill>
              </a:rPr>
              <a:t>аномальный рост растения со значительно ускоренным вытягиванием стебля, вызванный недостатком света для фотосинтеза.</a:t>
            </a:r>
            <a:endParaRPr lang="ru-RU" sz="1200" smtClean="0"/>
          </a:p>
        </p:txBody>
      </p:sp>
      <p:pic>
        <p:nvPicPr>
          <p:cNvPr id="4" name="Рисунок 3">
            <a:hlinkClick r:id="rId2"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453336"/>
            <a:ext cx="2526984" cy="29841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529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Список литературы</a:t>
            </a:r>
            <a:br>
              <a:rPr lang="ru-RU" smtClean="0"/>
            </a:br>
            <a:endParaRPr lang="ru-RU" smtClean="0"/>
          </a:p>
        </p:txBody>
      </p:sp>
      <p:sp>
        <p:nvSpPr>
          <p:cNvPr id="150530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/>
            <a:r>
              <a:rPr lang="lt-LT" sz="1000" smtClean="0">
                <a:solidFill>
                  <a:schemeClr val="tx1"/>
                </a:solidFill>
              </a:rPr>
              <a:t>Список литературы</a:t>
            </a:r>
            <a:endParaRPr lang="ru-RU" sz="1000" smtClean="0">
              <a:solidFill>
                <a:schemeClr val="tx1"/>
              </a:solidFill>
            </a:endParaRPr>
          </a:p>
          <a:p>
            <a:pPr marL="0" indent="0"/>
            <a:r>
              <a:rPr lang="en-US" sz="1000" b="0" smtClean="0">
                <a:solidFill>
                  <a:schemeClr val="tx1"/>
                </a:solidFill>
              </a:rPr>
              <a:t>0. Singh, Devesh, et al. "LEDs for Energy Efficient Greenhouse Lighting." arXiv preprint arXiv:1406.3016 (2014).</a:t>
            </a:r>
          </a:p>
          <a:p>
            <a:pPr marL="0" indent="0"/>
            <a:r>
              <a:rPr lang="lt-LT" sz="1000" b="0" smtClean="0">
                <a:solidFill>
                  <a:schemeClr val="tx1"/>
                </a:solidFill>
              </a:rPr>
              <a:t>1. Mitchell CA, Both A, Bourget CM, Kuboto C, Lopez RG, Morrow RC &amp; Runkle S. LEDs: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The future of greenhouse lighting. Chronica Horticulture. 2012;55:6-12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/>
            <a:endParaRPr lang="ru-RU" sz="1000" b="0" smtClean="0">
              <a:solidFill>
                <a:schemeClr val="tx1"/>
              </a:solidFill>
            </a:endParaRPr>
          </a:p>
          <a:p>
            <a:pPr marL="0" indent="0"/>
            <a:r>
              <a:rPr lang="lt-LT" sz="1000" b="0" smtClean="0">
                <a:solidFill>
                  <a:schemeClr val="tx1"/>
                </a:solidFill>
              </a:rPr>
              <a:t>2. Morrow RC. LED lighting in horticulture. Hort Science. 2008;43:1947-1950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/>
            <a:r>
              <a:rPr lang="lt-LT" sz="1000" b="0" smtClean="0">
                <a:solidFill>
                  <a:schemeClr val="tx1"/>
                </a:solidFill>
              </a:rPr>
              <a:t>3. Yeh N &amp; Chung JP. High-brightness LEDs – energy efficient lighting sources and their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potential in indoor plant cultivation. Renew Sust Energ Rev. 2009;13:2175–2180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/>
            <a:r>
              <a:rPr lang="lt-LT" sz="1000" b="0" smtClean="0">
                <a:solidFill>
                  <a:schemeClr val="tx1"/>
                </a:solidFill>
              </a:rPr>
              <a:t>4. Tennessen DJ, Singsaas EL &amp; Sharkey TD. Light-emitting diodes as a light source for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photosynthesis research. Photosynth Res. 1994;39:85-92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/>
            <a:r>
              <a:rPr lang="lt-LT" sz="1000" b="0" smtClean="0">
                <a:solidFill>
                  <a:schemeClr val="tx1"/>
                </a:solidFill>
              </a:rPr>
              <a:t>5. Barta DJ, Tibbits TW, Bula RJ &amp; Morrow, RC. Evaluation of light emitting diode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characteristics for a space-based plant irradiation source. Adv Space Res. 1992;12:141-9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/>
            <a:r>
              <a:rPr lang="lt-LT" sz="1000" b="0" smtClean="0">
                <a:solidFill>
                  <a:schemeClr val="tx1"/>
                </a:solidFill>
              </a:rPr>
              <a:t>6. Olle M &amp; Virsile A. The effect of light-emitting diode lighting on greenhouse plant growth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and quality. Agric Food Sci. 2013;22:223-234.</a:t>
            </a:r>
          </a:p>
          <a:p>
            <a:pPr marL="0" indent="0"/>
            <a:r>
              <a:rPr lang="lt-LT" sz="1000" b="0" smtClean="0">
                <a:solidFill>
                  <a:schemeClr val="tx1"/>
                </a:solidFill>
              </a:rPr>
              <a:t>7. Li Q &amp; Kubota C. Effects of supplemental light quality on growth and phytochemicals of baby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leaf lettuce. Environ Exp Bot. 2009;67:59-64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/>
            <a:r>
              <a:rPr lang="lt-LT" sz="1000" b="0" smtClean="0">
                <a:solidFill>
                  <a:schemeClr val="tx1"/>
                </a:solidFill>
              </a:rPr>
              <a:t>8. Lin KH, Huang MY, Huang WD, Hsu MH, Yang ZW &amp; Yang CM. The effects of red, blue,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and white light-emitting diodes on the growth, development, and edible quality of hidroponically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grown lettuce (Lactuca sativa L. var. capitata). SciHortic-Amsterdam. 2013;150:86-91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/>
            <a:r>
              <a:rPr lang="lt-LT" sz="1000" b="0" smtClean="0">
                <a:solidFill>
                  <a:schemeClr val="tx1"/>
                </a:solidFill>
              </a:rPr>
              <a:t>9. Massa GD, Kim HH, Wheeler RM &amp; Mitchell CA. Plant productivity in response to LED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lighting. Hort Science. 2008;43:1951-1956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/>
            <a:r>
              <a:rPr lang="lt-LT" sz="1000" b="0" smtClean="0">
                <a:solidFill>
                  <a:schemeClr val="tx1"/>
                </a:solidFill>
              </a:rPr>
              <a:t>10. Vänninen I, Pinto DM, Nissinen AI, Johansen NS &amp; Shipp L. In the light of new greenhouse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technologies: Plant-mediates effects of artificial lighting on arthropods and tritrophic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interactions. Ann Appl Biol. 2010;157:393-414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/>
            <a:endParaRPr lang="ru-RU" sz="1000" b="0" smtClean="0">
              <a:solidFill>
                <a:schemeClr val="tx1"/>
              </a:solidFill>
            </a:endParaRPr>
          </a:p>
        </p:txBody>
      </p:sp>
      <p:pic>
        <p:nvPicPr>
          <p:cNvPr id="4" name="Рисунок 3">
            <a:hlinkClick r:id="rId2"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453336"/>
            <a:ext cx="2526984" cy="298413"/>
          </a:xfrm>
          <a:prstGeom prst="rect">
            <a:avLst/>
          </a:prstGeom>
        </p:spPr>
      </p:pic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553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Список литературы</a:t>
            </a:r>
            <a:br>
              <a:rPr lang="ru-RU" smtClean="0"/>
            </a:br>
            <a:endParaRPr lang="ru-RU" smtClean="0"/>
          </a:p>
        </p:txBody>
      </p:sp>
      <p:sp>
        <p:nvSpPr>
          <p:cNvPr id="151554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/>
            <a:r>
              <a:rPr lang="lt-LT" sz="1000" b="0" smtClean="0">
                <a:solidFill>
                  <a:schemeClr val="tx1"/>
                </a:solidFill>
              </a:rPr>
              <a:t>11. Bourget CM. An introduction to light-emitting diodes. Hort Science. 2008;43:1944-1946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/>
            <a:endParaRPr lang="ru-RU" sz="1000" b="0" smtClean="0">
              <a:solidFill>
                <a:schemeClr val="tx1"/>
              </a:solidFill>
            </a:endParaRPr>
          </a:p>
          <a:p>
            <a:pPr marL="0" indent="0"/>
            <a:r>
              <a:rPr lang="lt-LT" sz="1000" b="0" smtClean="0">
                <a:solidFill>
                  <a:schemeClr val="tx1"/>
                </a:solidFill>
              </a:rPr>
              <a:t>12. Brumfield R. Dealing with rising energy costs. GPN. 2007;17:24-31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/>
            <a:r>
              <a:rPr lang="lt-LT" sz="1000" b="0" smtClean="0">
                <a:solidFill>
                  <a:schemeClr val="tx1"/>
                </a:solidFill>
              </a:rPr>
              <a:t>13. Langton A, Plackett C &amp; Kitchener H. Energy saving in poinsettia production. Horticultural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Development Council Fact sheet. 2006;7:1-12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/>
            <a:r>
              <a:rPr lang="lt-LT" sz="1000" b="0" smtClean="0">
                <a:solidFill>
                  <a:schemeClr val="tx1"/>
                </a:solidFill>
              </a:rPr>
              <a:t>14. Opdam JG, Schoonderbeek GG, Heller EB &amp; Gelder A. Closed greenhouse: a starting point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for sustainable entrepreneurship in horticulture. Acta Hort. 2005;691:517-524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/>
            <a:r>
              <a:rPr lang="lt-LT" sz="1000" b="0" smtClean="0">
                <a:solidFill>
                  <a:schemeClr val="tx1"/>
                </a:solidFill>
              </a:rPr>
              <a:t>15. Ieperen VW &amp; Trouwborst G. The Application of LEDs as Assimilation Light Source in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Greenhouse Horticulture: a Simulation Study. Acta Hort. 2008;33:1407-1414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/>
            <a:r>
              <a:rPr lang="lt-LT" sz="1000" b="0" smtClean="0">
                <a:solidFill>
                  <a:schemeClr val="tx1"/>
                </a:solidFill>
              </a:rPr>
              <a:t>16. Nanya K, Ishigami Y, Hikosaka S &amp; Goto E. Effects of blue and red light on stem elongation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and flowering of tomato seedlings. Acta Hort. 2012;956:261-266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/>
            <a:endParaRPr lang="ru-RU" sz="1000" b="0" smtClean="0">
              <a:solidFill>
                <a:schemeClr val="tx1"/>
              </a:solidFill>
            </a:endParaRPr>
          </a:p>
          <a:p>
            <a:pPr marL="0" indent="0"/>
            <a:r>
              <a:rPr lang="lt-LT" sz="1000" b="0" smtClean="0">
                <a:solidFill>
                  <a:schemeClr val="tx1"/>
                </a:solidFill>
              </a:rPr>
              <a:t>17. Keefe TJ. "The Nature of Light".Archived from the original on 2012-07-24. Retrieved 2007-11-05 Tower Hall Funabori, Tokyo, Japan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/>
            <a:r>
              <a:rPr lang="lt-LT" sz="1000" b="0" smtClean="0">
                <a:solidFill>
                  <a:schemeClr val="tx1"/>
                </a:solidFill>
              </a:rPr>
              <a:t>18. Nishio JL. Why are higher plants green? Evolution of the higher plant photosynthetic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pigment complement. Plant Cell Environ. 2000;23:539-548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/>
            <a:r>
              <a:rPr lang="lt-LT" sz="1000" b="0" smtClean="0">
                <a:solidFill>
                  <a:schemeClr val="tx1"/>
                </a:solidFill>
              </a:rPr>
              <a:t>19. Chen P. Chlorophyll and other photosentives. In: LED grow lights, absorption spectrum for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plant photosensitive pigments. </a:t>
            </a:r>
            <a:r>
              <a:rPr lang="de-DE" sz="1000" b="0" smtClean="0">
                <a:solidFill>
                  <a:schemeClr val="tx1"/>
                </a:solidFill>
                <a:hlinkClick r:id="rId2"/>
              </a:rPr>
              <a:t>http://www.ledgrowlightshq.co.uk/chlorophyll-plant-pigments/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(дата доступа: 12 марта 2014 г.)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/>
            <a:r>
              <a:rPr lang="lt-LT" sz="1000" b="0" smtClean="0">
                <a:solidFill>
                  <a:schemeClr val="tx1"/>
                </a:solidFill>
              </a:rPr>
              <a:t>20. Bula RJ, Morrow RC, Tibbits TW, Barta RW, Ignatius RW &amp; Martin TS. Light emitting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diodes as a radiation source for plants. Hort Science.1991;26:203–205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/>
            <a:r>
              <a:rPr lang="lt-LT" sz="1000" b="0" smtClean="0">
                <a:solidFill>
                  <a:schemeClr val="tx1"/>
                </a:solidFill>
              </a:rPr>
              <a:t>21. Tanaka Y, Kimata K &amp; Aiba H. A novel regulatory role of glucose transporter of Escherichia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coli: membrane sequestration of a global repressor Mic. EMBO J. 2000;19:5344-5352.</a:t>
            </a:r>
          </a:p>
          <a:p>
            <a:pPr marL="0" indent="0"/>
            <a:endParaRPr lang="ru-RU" sz="1000" b="0" smtClean="0">
              <a:solidFill>
                <a:schemeClr val="tx1"/>
              </a:solidFill>
            </a:endParaRPr>
          </a:p>
        </p:txBody>
      </p:sp>
      <p:pic>
        <p:nvPicPr>
          <p:cNvPr id="4" name="Рисунок 3">
            <a:hlinkClick r:id="rId3"/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453336"/>
            <a:ext cx="2526984" cy="298413"/>
          </a:xfrm>
          <a:prstGeom prst="rect">
            <a:avLst/>
          </a:prstGeom>
        </p:spPr>
      </p:pic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577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Список литературы</a:t>
            </a:r>
            <a:br>
              <a:rPr lang="ru-RU" smtClean="0"/>
            </a:br>
            <a:endParaRPr lang="ru-RU" smtClean="0"/>
          </a:p>
        </p:txBody>
      </p:sp>
      <p:sp>
        <p:nvSpPr>
          <p:cNvPr id="152578" name="Inhaltsplatzhalter 2"/>
          <p:cNvSpPr>
            <a:spLocks noGrp="1"/>
          </p:cNvSpPr>
          <p:nvPr>
            <p:ph idx="1"/>
          </p:nvPr>
        </p:nvSpPr>
        <p:spPr>
          <a:xfrm>
            <a:off x="539750" y="1268413"/>
            <a:ext cx="8064500" cy="4808537"/>
          </a:xfrm>
        </p:spPr>
        <p:txBody>
          <a:bodyPr/>
          <a:lstStyle/>
          <a:p>
            <a:pPr marL="0" indent="0"/>
            <a:r>
              <a:rPr lang="lt-LT" sz="1000" b="0" smtClean="0">
                <a:solidFill>
                  <a:schemeClr val="tx1"/>
                </a:solidFill>
              </a:rPr>
              <a:t>22. Tripathy BC &amp; Brown CS. Root-shoot interaction in the greening of wheat seedlings grown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under red light. Plant Physiol. 1995;107:407-411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/>
            <a:r>
              <a:rPr lang="lt-LT" sz="1000" b="0" smtClean="0">
                <a:solidFill>
                  <a:schemeClr val="tx1"/>
                </a:solidFill>
              </a:rPr>
              <a:t>23. Yanagi T &amp; Okamoto K. Utilization of super-bright light emitting diodes as an artificial light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source for plant growth. Acta Hort. 1997;418:223-228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/>
            <a:r>
              <a:rPr lang="lt-LT" sz="1000" b="0" smtClean="0">
                <a:solidFill>
                  <a:schemeClr val="tx1"/>
                </a:solidFill>
              </a:rPr>
              <a:t>24. Barreiro R, Guiamet JJ, Beltrano J &amp; Montaldi ER. Regulation of the photosynthetic capacity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of primary bean leaves by the red: far-red ratio and photosynthetic photon flux density of´incident light. Physiol. Plant. 1992;85:97–101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/>
            <a:r>
              <a:rPr lang="lt-LT" sz="1000" b="0" smtClean="0">
                <a:solidFill>
                  <a:schemeClr val="tx1"/>
                </a:solidFill>
              </a:rPr>
              <a:t>25. Sims DA &amp; Pearcy RW. Response of leaf anatomy and photosynthetic capacity in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Alocasiamacrorrhiza (Araceae) to a transfer from low to high light. Am J Bot. 1992;79:449-455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/>
            <a:r>
              <a:rPr lang="lt-LT" sz="1000" b="0" smtClean="0">
                <a:solidFill>
                  <a:schemeClr val="tx1"/>
                </a:solidFill>
              </a:rPr>
              <a:t>26. Akoyunoglou G &amp; Anni H. Blue light effect on chloroplast development in higher plants. In: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Senger H. (ed.), Blue Light Effects in Biological Systems. Springer-Verlag, Berlin: 1984. pp.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397–406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/>
            <a:r>
              <a:rPr lang="lt-LT" sz="1000" b="0" smtClean="0">
                <a:solidFill>
                  <a:schemeClr val="tx1"/>
                </a:solidFill>
              </a:rPr>
              <a:t>27. Saebo A, Krekling T &amp; Appelgren M. Light quality affects photosynthesis and leaf anatomy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of brich plantlets in vitro.Plant Cell Tiss Org. 1995;41:177-185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/>
            <a:r>
              <a:rPr lang="lt-LT" sz="1000" b="0" smtClean="0">
                <a:solidFill>
                  <a:schemeClr val="tx1"/>
                </a:solidFill>
              </a:rPr>
              <a:t>28. Senger H. The effect of blue light on plants and microorganisms. Phytochem Photobiol.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1982;35:911-920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/>
            <a:r>
              <a:rPr lang="lt-LT" sz="1000" b="0" smtClean="0">
                <a:solidFill>
                  <a:schemeClr val="tx1"/>
                </a:solidFill>
              </a:rPr>
              <a:t>29. Yorio NC, Goins GD, Kagie HR, Wheeler RM &amp; Sager JC. Improving spinach, radish and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lettuce growth under red light emitting didoes (LEDs) with blue light supplementation. Hort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Science. 2001;36:380-383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/>
            <a:r>
              <a:rPr lang="lt-LT" sz="1000" b="0" smtClean="0">
                <a:solidFill>
                  <a:schemeClr val="tx1"/>
                </a:solidFill>
              </a:rPr>
              <a:t>30. Stutte GW, Edney S &amp; Skerritt T. Photoregulation of bioprotectant content of red leaf lettuc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with light-emitting diodes. Hort Science. 2009;44:79-82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/>
            <a:r>
              <a:rPr lang="lt-LT" sz="1000" b="0" smtClean="0">
                <a:solidFill>
                  <a:schemeClr val="tx1"/>
                </a:solidFill>
              </a:rPr>
              <a:t>31. Goins GD, Ruffe LM, Cranston NA, Yorio NC, Wheeler RM &amp; Sager JC. Salad crop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production under different wavelengths of red light-emitting diodes (LEDs). SAE Technical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Paper, 31st International Conference on Environmental Systems, July 9–12, 2001, Orlando,</a:t>
            </a:r>
          </a:p>
          <a:p>
            <a:pPr marL="0" indent="0"/>
            <a:r>
              <a:rPr lang="lt-LT" sz="1000" b="0" smtClean="0">
                <a:solidFill>
                  <a:schemeClr val="tx1"/>
                </a:solidFill>
              </a:rPr>
              <a:t>Florida, USA: 2001. p. 1–9.</a:t>
            </a:r>
          </a:p>
          <a:p>
            <a:pPr marL="0" indent="0"/>
            <a:endParaRPr lang="ru-RU" sz="1000" b="0" smtClean="0">
              <a:solidFill>
                <a:schemeClr val="tx1"/>
              </a:solidFill>
            </a:endParaRPr>
          </a:p>
        </p:txBody>
      </p:sp>
      <p:pic>
        <p:nvPicPr>
          <p:cNvPr id="4" name="Рисунок 3">
            <a:hlinkClick r:id="rId2"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453336"/>
            <a:ext cx="2526984" cy="298413"/>
          </a:xfrm>
          <a:prstGeom prst="rect">
            <a:avLst/>
          </a:prstGeom>
        </p:spPr>
      </p:pic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01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Список литературы</a:t>
            </a:r>
            <a:br>
              <a:rPr lang="ru-RU" smtClean="0"/>
            </a:br>
            <a:endParaRPr lang="ru-RU" smtClean="0"/>
          </a:p>
        </p:txBody>
      </p:sp>
      <p:sp>
        <p:nvSpPr>
          <p:cNvPr id="153602" name="Inhaltsplatzhalter 2"/>
          <p:cNvSpPr>
            <a:spLocks noGrp="1"/>
          </p:cNvSpPr>
          <p:nvPr>
            <p:ph idx="1"/>
          </p:nvPr>
        </p:nvSpPr>
        <p:spPr>
          <a:xfrm>
            <a:off x="539750" y="1196975"/>
            <a:ext cx="8135938" cy="4808538"/>
          </a:xfrm>
        </p:spPr>
        <p:txBody>
          <a:bodyPr/>
          <a:lstStyle/>
          <a:p>
            <a:pPr marL="0" indent="0">
              <a:lnSpc>
                <a:spcPct val="105000"/>
              </a:lnSpc>
            </a:pPr>
            <a:r>
              <a:rPr lang="lt-LT" sz="1000" b="0" smtClean="0">
                <a:solidFill>
                  <a:schemeClr val="tx1"/>
                </a:solidFill>
              </a:rPr>
              <a:t>32. Li H, Tang C, Xu Z, Liu X &amp; Han X. Effects of different light sources on the growth of nonheading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chinese cabbage (Brassica campestris L.). J Agr Sci. 2012;4:262-273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>
              <a:lnSpc>
                <a:spcPct val="105000"/>
              </a:lnSpc>
            </a:pPr>
            <a:r>
              <a:rPr lang="lt-LT" sz="1000" b="0" smtClean="0">
                <a:solidFill>
                  <a:schemeClr val="tx1"/>
                </a:solidFill>
              </a:rPr>
              <a:t>33. Mizuno T, Amaki W &amp; Watanabe H. Effects of monochromatic light irradiation by LED on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the growth and anthocyanin contents in laves of cabbage seedlings. Acta Horticulturae.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2011;907:179-184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>
              <a:lnSpc>
                <a:spcPct val="105000"/>
              </a:lnSpc>
            </a:pPr>
            <a:r>
              <a:rPr lang="lt-LT" sz="1000" b="0" smtClean="0">
                <a:solidFill>
                  <a:schemeClr val="tx1"/>
                </a:solidFill>
              </a:rPr>
              <a:t>34. Brown C, Shuerger AC &amp; Sager JC. Growth and photomorphogenesis of pepper plants under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red light-emitting diodes with supplemental blue or far-red lighting. J Am SocHortic Sci.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1995;120:808-813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>
              <a:lnSpc>
                <a:spcPct val="105000"/>
              </a:lnSpc>
            </a:pPr>
            <a:r>
              <a:rPr lang="lt-LT" sz="1000" b="0" smtClean="0">
                <a:solidFill>
                  <a:schemeClr val="tx1"/>
                </a:solidFill>
              </a:rPr>
              <a:t>35. Goins GD, Yorio NC, Sanwo MM &amp; Brown CS. Photomorphogenesis, photosynthesis and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seed yield of wheat plants grown under red light-emitting diodes (LEDs) with and without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supplemental blue lighting. J Exp Bot. 1997;48:1407-1413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>
              <a:lnSpc>
                <a:spcPct val="105000"/>
              </a:lnSpc>
            </a:pPr>
            <a:r>
              <a:rPr lang="lt-LT" sz="1000" b="0" smtClean="0">
                <a:solidFill>
                  <a:schemeClr val="tx1"/>
                </a:solidFill>
              </a:rPr>
              <a:t>36. Lefsrud MG, Kopsell DA &amp; Sams CE. Irradiance from distinct wavelength light-emitting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diodes affect secondary metabolites in kale. Hort Science. 2008;43:2243-2244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>
              <a:lnSpc>
                <a:spcPct val="105000"/>
              </a:lnSpc>
            </a:pPr>
            <a:r>
              <a:rPr lang="lt-LT" sz="1000" b="0" smtClean="0">
                <a:solidFill>
                  <a:schemeClr val="tx1"/>
                </a:solidFill>
              </a:rPr>
              <a:t>37. Johkan M, Shoji K, Goto F, Hahida S &amp; Yoshihara T. Effect of green light wavelength and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intensity on photomorphogenesis and photosynthesis in Lactuca sativa. Environ Exp Bot.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2012;75:128-133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>
              <a:lnSpc>
                <a:spcPct val="105000"/>
              </a:lnSpc>
            </a:pPr>
            <a:r>
              <a:rPr lang="lt-LT" sz="1000" b="0" smtClean="0">
                <a:solidFill>
                  <a:schemeClr val="tx1"/>
                </a:solidFill>
              </a:rPr>
              <a:t>38. Tarakanov I, Yakovleva O, Konovalova I, Paliutina G &amp; Anisimov A. Light-emitting diodes: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on the way to combinatorial lighting technologies for basic research and crop production.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ActaHorticulturae. 2012;956:171-178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>
              <a:lnSpc>
                <a:spcPct val="105000"/>
              </a:lnSpc>
            </a:pPr>
            <a:r>
              <a:rPr lang="lt-LT" sz="1000" b="0" smtClean="0">
                <a:solidFill>
                  <a:schemeClr val="tx1"/>
                </a:solidFill>
              </a:rPr>
              <a:t>39. Lu N, Maruo T, Johkan M, Hohjo M, Tsukakoshi S, Ito Y, Ichimura T &amp; Shinohara Y.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Effects of supplemental lighting with light-emitting diodes (LEDs) on tomato yield and quality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of single-truss tomato plants grown at high planting density. Environ Control Biol. 2012;50:63–</a:t>
            </a:r>
          </a:p>
          <a:p>
            <a:pPr marL="0" indent="0">
              <a:lnSpc>
                <a:spcPct val="105000"/>
              </a:lnSpc>
            </a:pPr>
            <a:r>
              <a:rPr lang="lt-LT" sz="1000" b="0" smtClean="0">
                <a:solidFill>
                  <a:schemeClr val="tx1"/>
                </a:solidFill>
              </a:rPr>
              <a:t>74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>
              <a:lnSpc>
                <a:spcPct val="105000"/>
              </a:lnSpc>
            </a:pPr>
            <a:r>
              <a:rPr lang="lt-LT" sz="1000" b="0" smtClean="0">
                <a:solidFill>
                  <a:schemeClr val="tx1"/>
                </a:solidFill>
              </a:rPr>
              <a:t>40. Samuolienė G, Urbonavičiūtė A, Duchovskis P, Bliznikas Z, Vitta P &amp; Žukauskas A.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Decrease in nitrate concentration in leafy vegetables under a solid-state illuminator. Hort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Science. 2009;44:1857-1860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/>
            <a:endParaRPr lang="ru-RU" sz="1000" b="0" smtClean="0">
              <a:solidFill>
                <a:schemeClr val="tx1"/>
              </a:solidFill>
            </a:endParaRPr>
          </a:p>
        </p:txBody>
      </p:sp>
      <p:pic>
        <p:nvPicPr>
          <p:cNvPr id="4" name="Рисунок 3">
            <a:hlinkClick r:id="rId2"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453336"/>
            <a:ext cx="2526984" cy="298413"/>
          </a:xfrm>
          <a:prstGeom prst="rect">
            <a:avLst/>
          </a:prstGeom>
        </p:spPr>
      </p:pic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625" name="Inhaltsplatzhalter 2"/>
          <p:cNvSpPr>
            <a:spLocks noGrp="1"/>
          </p:cNvSpPr>
          <p:nvPr>
            <p:ph idx="1"/>
          </p:nvPr>
        </p:nvSpPr>
        <p:spPr>
          <a:xfrm>
            <a:off x="539750" y="1196975"/>
            <a:ext cx="8208963" cy="4808538"/>
          </a:xfrm>
        </p:spPr>
        <p:txBody>
          <a:bodyPr/>
          <a:lstStyle/>
          <a:p>
            <a:pPr marL="0" indent="0">
              <a:lnSpc>
                <a:spcPct val="105000"/>
              </a:lnSpc>
            </a:pPr>
            <a:r>
              <a:rPr lang="lt-LT" sz="1000" b="0" smtClean="0">
                <a:solidFill>
                  <a:schemeClr val="tx1"/>
                </a:solidFill>
              </a:rPr>
              <a:t>41. Bliznikas Z, Žukauskas A, Samuolienė G, Viršilė A, Brazaitytė A, Jankauskienė J,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Duchovskis P &amp; Novičkovas A. Effect of supplementary pre-harvest LED lighting on the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antioxidant and nutritional properties of green vegetables. Acta Hort. 2012;939:85-91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>
              <a:lnSpc>
                <a:spcPct val="105000"/>
              </a:lnSpc>
            </a:pPr>
            <a:r>
              <a:rPr lang="lt-LT" sz="1000" b="0" smtClean="0">
                <a:solidFill>
                  <a:schemeClr val="tx1"/>
                </a:solidFill>
              </a:rPr>
              <a:t>42. Samuolienė G, Sirtautas R, Brazaitytė A, Viršilė A &amp; Duchovskis P. Supplementary red-LED lighting and the changes in phytochemical content of two baby leaf lettuce varieties during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three seasons. J Food Agric Environ. 2012a;10:701 – 706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>
              <a:lnSpc>
                <a:spcPct val="105000"/>
              </a:lnSpc>
            </a:pPr>
            <a:r>
              <a:rPr lang="lt-LT" sz="1000" b="0" smtClean="0">
                <a:solidFill>
                  <a:schemeClr val="tx1"/>
                </a:solidFill>
              </a:rPr>
              <a:t>43. Samuolienė G, Brazaitytė A, Sirtautas R, Novičkovas A &amp; Duchovskis P. Supplementary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red-LED lighting affects phytochemicals and nitrate of baby leaf lettuce. J Food Agric Environ.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2011;9:271-274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>
              <a:lnSpc>
                <a:spcPct val="105000"/>
              </a:lnSpc>
            </a:pPr>
            <a:r>
              <a:rPr lang="lt-LT" sz="1000" b="0" smtClean="0">
                <a:solidFill>
                  <a:schemeClr val="tx1"/>
                </a:solidFill>
              </a:rPr>
              <a:t>44. Žukauskas A, Bliznikas Z, Breivė K, Novičkovas A, Samuolienė G, Urbonavičiūtė A,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Brazaitytė A, Jankauskienė J &amp; Duchovskis P. Effect of supplementary pre-harvest LED lighting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on the antioxidant properties of lettuce cultivars. Acta Hort. 2011;907:87-90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>
              <a:lnSpc>
                <a:spcPct val="105000"/>
              </a:lnSpc>
            </a:pPr>
            <a:r>
              <a:rPr lang="lt-LT" sz="1000" b="0" smtClean="0">
                <a:solidFill>
                  <a:schemeClr val="tx1"/>
                </a:solidFill>
              </a:rPr>
              <a:t>45. Ménard C, Dorais M, Hovi T &amp; Gosselin A. Developmental and physiological responses of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tomato and cucumber to additional blue light. Acta Hort. 2006;711:291-296.</a:t>
            </a:r>
            <a:r>
              <a:rPr lang="ru-RU" smtClean="0"/>
              <a:t> </a:t>
            </a:r>
          </a:p>
          <a:p>
            <a:pPr marL="0" indent="0">
              <a:lnSpc>
                <a:spcPct val="105000"/>
              </a:lnSpc>
            </a:pPr>
            <a:r>
              <a:rPr lang="lt-LT" sz="1000" b="0" smtClean="0">
                <a:solidFill>
                  <a:schemeClr val="tx1"/>
                </a:solidFill>
              </a:rPr>
              <a:t>46. Novičkovas A, Brazaitytė A, Duchovskis P, Jankauskienė J, Samuolienė G, Viršilė A,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Sirtautas R, Bliznikas Z &amp; Žukauskas A. Solid-state lamps (LEDs) for the short-wavelength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supplementary lighting in greenhouses: experimental results with cucumber. Acta Hort.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2012;927:723-730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>
              <a:lnSpc>
                <a:spcPct val="105000"/>
              </a:lnSpc>
            </a:pPr>
            <a:r>
              <a:rPr lang="lt-LT" sz="1000" b="0" smtClean="0">
                <a:solidFill>
                  <a:schemeClr val="tx1"/>
                </a:solidFill>
              </a:rPr>
              <a:t>47. Samuolienė G, Brazaitytė A, Duchovskis P, Viršilė A, Jankauskienė J, Sirtautas R,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Novičkovas A, Sakalauskienė S &amp; Sakalauskaitė,J. Cultivation of vegetable transplants using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solid-state lamps for the short-wavelength supplementary lighting in greenhouses. Acta Hort.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2012c ;952:885–892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>
              <a:lnSpc>
                <a:spcPct val="105000"/>
              </a:lnSpc>
            </a:pPr>
            <a:r>
              <a:rPr lang="lt-LT" sz="1000" b="0" smtClean="0">
                <a:solidFill>
                  <a:schemeClr val="tx1"/>
                </a:solidFill>
              </a:rPr>
              <a:t>48. Folta KM. Green light stimulates early stem elongation, antagonizing light-mediated growth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inhibition. Plant Physiol. 2004;135:1407-1416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>
              <a:lnSpc>
                <a:spcPct val="105000"/>
              </a:lnSpc>
            </a:pPr>
            <a:r>
              <a:rPr lang="lt-LT" sz="1000" b="0" smtClean="0">
                <a:solidFill>
                  <a:schemeClr val="tx1"/>
                </a:solidFill>
              </a:rPr>
              <a:t>49. Kim HH, Goins GD, Wheeler RM &amp; Sager JC. Green- light supplementation for enhanced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lettuce growth under red and blue light-emitting diodes. Hort Science. 2004;39:1617-1622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>
              <a:lnSpc>
                <a:spcPct val="105000"/>
              </a:lnSpc>
            </a:pPr>
            <a:r>
              <a:rPr lang="lt-LT" sz="1000" b="0" smtClean="0">
                <a:solidFill>
                  <a:schemeClr val="tx1"/>
                </a:solidFill>
              </a:rPr>
              <a:t>50. Simpson GG &amp; Dean C. Arabidopsis, the Rosetta stone of flowering time? Science. 2002;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296:285–289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>
              <a:lnSpc>
                <a:spcPct val="105000"/>
              </a:lnSpc>
            </a:pPr>
            <a:endParaRPr lang="ru-RU" sz="1000" b="0" smtClean="0">
              <a:solidFill>
                <a:schemeClr val="tx1"/>
              </a:solidFill>
            </a:endParaRPr>
          </a:p>
          <a:p>
            <a:pPr marL="0" indent="0">
              <a:lnSpc>
                <a:spcPct val="105000"/>
              </a:lnSpc>
            </a:pPr>
            <a:endParaRPr lang="ru-RU" sz="1000" b="0" smtClean="0">
              <a:solidFill>
                <a:schemeClr val="tx1"/>
              </a:solidFill>
            </a:endParaRPr>
          </a:p>
          <a:p>
            <a:pPr marL="0" indent="0">
              <a:lnSpc>
                <a:spcPct val="105000"/>
              </a:lnSpc>
            </a:pPr>
            <a:endParaRPr lang="ru-RU" sz="1000" b="0" smtClean="0">
              <a:solidFill>
                <a:schemeClr val="tx1"/>
              </a:solidFill>
            </a:endParaRPr>
          </a:p>
        </p:txBody>
      </p:sp>
      <p:sp>
        <p:nvSpPr>
          <p:cNvPr id="154626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Список литературы</a:t>
            </a:r>
            <a:br>
              <a:rPr lang="ru-RU" smtClean="0"/>
            </a:br>
            <a:endParaRPr lang="ru-RU" smtClean="0"/>
          </a:p>
        </p:txBody>
      </p:sp>
      <p:pic>
        <p:nvPicPr>
          <p:cNvPr id="4" name="Рисунок 3">
            <a:hlinkClick r:id="rId2"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453336"/>
            <a:ext cx="2526984" cy="298413"/>
          </a:xfrm>
          <a:prstGeom prst="rect">
            <a:avLst/>
          </a:prstGeom>
        </p:spPr>
      </p:pic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49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Список литературы</a:t>
            </a:r>
            <a:br>
              <a:rPr lang="ru-RU" smtClean="0"/>
            </a:br>
            <a:endParaRPr lang="ru-RU" smtClean="0"/>
          </a:p>
        </p:txBody>
      </p:sp>
      <p:sp>
        <p:nvSpPr>
          <p:cNvPr id="155650" name="Inhaltsplatzhalter 2"/>
          <p:cNvSpPr>
            <a:spLocks noGrp="1"/>
          </p:cNvSpPr>
          <p:nvPr>
            <p:ph idx="1"/>
          </p:nvPr>
        </p:nvSpPr>
        <p:spPr>
          <a:xfrm>
            <a:off x="539750" y="1196975"/>
            <a:ext cx="8280400" cy="4808538"/>
          </a:xfrm>
        </p:spPr>
        <p:txBody>
          <a:bodyPr/>
          <a:lstStyle/>
          <a:p>
            <a:pPr marL="0" indent="0">
              <a:lnSpc>
                <a:spcPct val="105000"/>
              </a:lnSpc>
            </a:pPr>
            <a:r>
              <a:rPr lang="lt-LT" sz="1000" b="0" smtClean="0">
                <a:solidFill>
                  <a:schemeClr val="tx1"/>
                </a:solidFill>
              </a:rPr>
              <a:t>51.Yanovsky MJ &amp; Kay SA. Molecular basis of seasonal time measurement in Arabidopsis.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Nature. 2002;419:308-312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>
              <a:lnSpc>
                <a:spcPct val="105000"/>
              </a:lnSpc>
            </a:pPr>
            <a:r>
              <a:rPr lang="lt-LT" sz="1000" b="0" smtClean="0">
                <a:solidFill>
                  <a:schemeClr val="tx1"/>
                </a:solidFill>
              </a:rPr>
              <a:t>52. Downs RJ &amp; Thomas JF. Phytochrome regulation of flowering in the long-day plant,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Hyoscyamusniger. Plant Physiol. 1982;70:898-900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>
              <a:lnSpc>
                <a:spcPct val="105000"/>
              </a:lnSpc>
            </a:pPr>
            <a:r>
              <a:rPr lang="lt-LT" sz="1000" b="0" smtClean="0">
                <a:solidFill>
                  <a:schemeClr val="tx1"/>
                </a:solidFill>
              </a:rPr>
              <a:t>53. Evans LT. Inflorescence initiation in Loliumtemu lentum L. XIV. The role of phytochrome in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long day induction. Austral. J. Plant Physiol. 1976;3:207-217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>
              <a:lnSpc>
                <a:spcPct val="105000"/>
              </a:lnSpc>
            </a:pPr>
            <a:r>
              <a:rPr lang="lt-LT" sz="1000" b="0" smtClean="0">
                <a:solidFill>
                  <a:schemeClr val="tx1"/>
                </a:solidFill>
              </a:rPr>
              <a:t>54. Shinomura T, Uchida K &amp; Furuya M. Elementary processes of photoperception by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phytochrome A for high-irradiance response of hypocotyl elongation in Arabidopsis. Plant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Physiol. 2000;122:147-156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>
              <a:lnSpc>
                <a:spcPct val="105000"/>
              </a:lnSpc>
            </a:pPr>
            <a:r>
              <a:rPr lang="lt-LT" sz="1000" b="0" smtClean="0">
                <a:solidFill>
                  <a:schemeClr val="tx1"/>
                </a:solidFill>
              </a:rPr>
              <a:t>55. Smith H. Light quality, photoperception, and plant strategy. Annu Rev Plant Physiol.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1982;33:481-518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>
              <a:lnSpc>
                <a:spcPct val="105000"/>
              </a:lnSpc>
            </a:pPr>
            <a:r>
              <a:rPr lang="lt-LT" sz="1000" b="0" smtClean="0">
                <a:solidFill>
                  <a:schemeClr val="tx1"/>
                </a:solidFill>
              </a:rPr>
              <a:t>56. Runkle ES &amp; Heins DR. Specific functions of red, far-red and blue lights in flowering and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stem extension of long-day plants. J Amer Soc. Hort Sci. 2001;126:275-282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>
              <a:lnSpc>
                <a:spcPct val="105000"/>
              </a:lnSpc>
            </a:pPr>
            <a:endParaRPr lang="ru-RU" sz="1000" b="0" smtClean="0">
              <a:solidFill>
                <a:schemeClr val="tx1"/>
              </a:solidFill>
            </a:endParaRPr>
          </a:p>
          <a:p>
            <a:pPr marL="0" indent="0">
              <a:lnSpc>
                <a:spcPct val="105000"/>
              </a:lnSpc>
            </a:pPr>
            <a:r>
              <a:rPr lang="lt-LT" sz="1000" b="0" smtClean="0">
                <a:solidFill>
                  <a:schemeClr val="tx1"/>
                </a:solidFill>
              </a:rPr>
              <a:t>57. Meng Q &amp; Runkle ES. Control flowering with LEDs. Lighting Research.Growers Talk 62., http://www.ballpublishing.com/GrowerTalks/ViewArticle.aspx?articleid=20604 (дата доступа: 15 февраля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2014 г.)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>
              <a:lnSpc>
                <a:spcPct val="105000"/>
              </a:lnSpc>
            </a:pPr>
            <a:r>
              <a:rPr lang="lt-LT" sz="1000" b="0" smtClean="0">
                <a:solidFill>
                  <a:schemeClr val="tx1"/>
                </a:solidFill>
              </a:rPr>
              <a:t>58. Gomez C, Morrow RC, Bourget CM, Massa GD &amp; Mitchell CA. Comparison of intracanopy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light-emitting diode towers and overhead high-pressure sodium lamps for supplemental lighting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of greenhouse-grown tomatoes. Hort Technology. 2013;23:93-98.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>
              <a:lnSpc>
                <a:spcPct val="105000"/>
              </a:lnSpc>
            </a:pPr>
            <a:r>
              <a:rPr lang="lt-LT" sz="1000" b="0" smtClean="0">
                <a:solidFill>
                  <a:schemeClr val="tx1"/>
                </a:solidFill>
              </a:rPr>
              <a:t>59. Voss J. Market special: greenhouse farming in Germany. The ministry of Economics Affairs,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Agriculture and Innovation, NL, EVD International. 2011.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http://duitsland.nlambassade.org/binaries/content/assets/postenweb/d/duitsland/ambassadeberlijn/zaken-doen/20110507-marktverkenning-greenhouse-farming-germany.pdf (дата доступа: 16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февраля 2014 г.)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>
              <a:lnSpc>
                <a:spcPct val="105000"/>
              </a:lnSpc>
            </a:pPr>
            <a:r>
              <a:rPr lang="lt-LT" sz="1000" b="0" smtClean="0">
                <a:solidFill>
                  <a:schemeClr val="tx1"/>
                </a:solidFill>
              </a:rPr>
              <a:t>60. Kacira, M. Greenhouse Production in US: Status, Challenges, and Opportunities. Presented a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CIGR 2011 conference on Sustainable Bioproduction WEF 2011, September 19-23, 2011.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61. Nelson AJ &amp; Bugbee B. 2013. Supplemental greenhouse lighting: Return on investments for</a:t>
            </a:r>
            <a:r>
              <a:rPr lang="ru-RU" smtClean="0"/>
              <a:t> </a:t>
            </a:r>
            <a:r>
              <a:rPr lang="lt-LT" sz="1000" b="0" smtClean="0">
                <a:solidFill>
                  <a:schemeClr val="tx1"/>
                </a:solidFill>
              </a:rPr>
              <a:t>LED and HPS fixtures. http://cpl.usu.edu/files/publications/factsheet/pub__4338884.pdf</a:t>
            </a:r>
            <a:endParaRPr lang="ru-RU" sz="1000" b="0" smtClean="0">
              <a:solidFill>
                <a:schemeClr val="tx1"/>
              </a:solidFill>
            </a:endParaRPr>
          </a:p>
          <a:p>
            <a:pPr marL="0" indent="0">
              <a:lnSpc>
                <a:spcPct val="105000"/>
              </a:lnSpc>
            </a:pPr>
            <a:endParaRPr lang="ru-RU" sz="1000" b="0" smtClean="0">
              <a:solidFill>
                <a:schemeClr val="tx1"/>
              </a:solidFill>
            </a:endParaRPr>
          </a:p>
          <a:p>
            <a:pPr marL="0" indent="0">
              <a:lnSpc>
                <a:spcPct val="105000"/>
              </a:lnSpc>
            </a:pPr>
            <a:endParaRPr lang="ru-RU" sz="1000" b="0" smtClean="0">
              <a:solidFill>
                <a:schemeClr val="tx1"/>
              </a:solidFill>
            </a:endParaRPr>
          </a:p>
        </p:txBody>
      </p:sp>
      <p:pic>
        <p:nvPicPr>
          <p:cNvPr id="4" name="Рисунок 3">
            <a:hlinkClick r:id="rId2"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453336"/>
            <a:ext cx="2526984" cy="298413"/>
          </a:xfrm>
          <a:prstGeom prst="rect">
            <a:avLst/>
          </a:prstGeom>
        </p:spPr>
      </p:pic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3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r>
              <a:rPr lang="ru-RU" smtClean="0"/>
              <a:t>Спасибо!</a:t>
            </a:r>
          </a:p>
        </p:txBody>
      </p:sp>
      <p:sp>
        <p:nvSpPr>
          <p:cNvPr id="156674" name="Rectangle 3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pPr marL="0" indent="0"/>
            <a:r>
              <a:rPr lang="ru-RU" smtClean="0"/>
              <a:t> </a:t>
            </a:r>
          </a:p>
        </p:txBody>
      </p:sp>
      <p:pic>
        <p:nvPicPr>
          <p:cNvPr id="5" name="Рисунок 4">
            <a:hlinkClick r:id="rId3"/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20" y="4445258"/>
            <a:ext cx="1080120" cy="143201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1" name="Titel 1"/>
          <p:cNvSpPr>
            <a:spLocks noGrp="1"/>
          </p:cNvSpPr>
          <p:nvPr>
            <p:ph type="title"/>
          </p:nvPr>
        </p:nvSpPr>
        <p:spPr>
          <a:xfrm>
            <a:off x="539750" y="404813"/>
            <a:ext cx="8064500" cy="814387"/>
          </a:xfrm>
        </p:spPr>
        <p:txBody>
          <a:bodyPr/>
          <a:lstStyle/>
          <a:p>
            <a:r>
              <a:rPr lang="ru-RU" dirty="0" smtClean="0"/>
              <a:t>Различие в спектрах поглощения для фотохимических реакций в человеческом глазу и в растениях</a:t>
            </a:r>
          </a:p>
        </p:txBody>
      </p:sp>
      <p:sp>
        <p:nvSpPr>
          <p:cNvPr id="107522" name="Inhaltsplatzhalt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/>
            <a:r>
              <a:rPr lang="ru-RU" sz="1600" smtClean="0"/>
              <a:t>Под воздействием света происходит фотохимическая реакция. В человеческом глазу свет воздействует на фоторецепторы (колбочки) разных типов — S, M и L. В растениях свет реагирует с хлорофиллом типов a и b.</a:t>
            </a:r>
          </a:p>
        </p:txBody>
      </p:sp>
      <p:graphicFrame>
        <p:nvGraphicFramePr>
          <p:cNvPr id="7" name="Diagramm 6"/>
          <p:cNvGraphicFramePr/>
          <p:nvPr/>
        </p:nvGraphicFramePr>
        <p:xfrm>
          <a:off x="611560" y="2996952"/>
          <a:ext cx="2520000" cy="27363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7524" name="Textfeld 7"/>
          <p:cNvSpPr txBox="1">
            <a:spLocks noChangeArrowheads="1"/>
          </p:cNvSpPr>
          <p:nvPr/>
        </p:nvSpPr>
        <p:spPr bwMode="auto">
          <a:xfrm>
            <a:off x="611188" y="2430463"/>
            <a:ext cx="2592387" cy="566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400"/>
              <a:t>Спектры поглощения человеческого глаза</a:t>
            </a:r>
          </a:p>
        </p:txBody>
      </p:sp>
      <p:sp>
        <p:nvSpPr>
          <p:cNvPr id="107525" name="Textfeld 8"/>
          <p:cNvSpPr txBox="1">
            <a:spLocks noChangeArrowheads="1"/>
          </p:cNvSpPr>
          <p:nvPr/>
        </p:nvSpPr>
        <p:spPr bwMode="auto">
          <a:xfrm>
            <a:off x="3924300" y="2420938"/>
            <a:ext cx="4392613" cy="328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400"/>
              <a:t>Спектры поглощения растений</a:t>
            </a:r>
          </a:p>
        </p:txBody>
      </p:sp>
      <p:sp>
        <p:nvSpPr>
          <p:cNvPr id="107526" name="Abgerundetes Rechteck 10"/>
          <p:cNvSpPr>
            <a:spLocks noChangeArrowheads="1"/>
          </p:cNvSpPr>
          <p:nvPr/>
        </p:nvSpPr>
        <p:spPr bwMode="auto">
          <a:xfrm>
            <a:off x="539750" y="2420938"/>
            <a:ext cx="2736850" cy="3311525"/>
          </a:xfrm>
          <a:prstGeom prst="roundRect">
            <a:avLst>
              <a:gd name="adj" fmla="val 16667"/>
            </a:avLst>
          </a:prstGeom>
          <a:noFill/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pPr algn="ctr">
              <a:lnSpc>
                <a:spcPct val="110000"/>
              </a:lnSpc>
            </a:pPr>
            <a:endParaRPr lang="en-US" sz="1600"/>
          </a:p>
        </p:txBody>
      </p:sp>
      <p:sp>
        <p:nvSpPr>
          <p:cNvPr id="107527" name="Abgerundetes Rechteck 11"/>
          <p:cNvSpPr>
            <a:spLocks noChangeArrowheads="1"/>
          </p:cNvSpPr>
          <p:nvPr/>
        </p:nvSpPr>
        <p:spPr bwMode="auto">
          <a:xfrm>
            <a:off x="3348038" y="2420938"/>
            <a:ext cx="5400675" cy="3311525"/>
          </a:xfrm>
          <a:prstGeom prst="roundRect">
            <a:avLst>
              <a:gd name="adj" fmla="val 16667"/>
            </a:avLst>
          </a:prstGeom>
          <a:noFill/>
          <a:ln w="12700" algn="ctr">
            <a:solidFill>
              <a:schemeClr val="accent1"/>
            </a:solidFill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pPr algn="ctr">
              <a:lnSpc>
                <a:spcPct val="110000"/>
              </a:lnSpc>
            </a:pPr>
            <a:endParaRPr lang="en-US" sz="1600"/>
          </a:p>
        </p:txBody>
      </p:sp>
      <p:graphicFrame>
        <p:nvGraphicFramePr>
          <p:cNvPr id="13" name="Diagramm 12"/>
          <p:cNvGraphicFramePr/>
          <p:nvPr/>
        </p:nvGraphicFramePr>
        <p:xfrm>
          <a:off x="3347864" y="2924944"/>
          <a:ext cx="5400600" cy="2808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7531" name="Text Box 11"/>
          <p:cNvSpPr txBox="1">
            <a:spLocks noChangeArrowheads="1"/>
          </p:cNvSpPr>
          <p:nvPr/>
        </p:nvSpPr>
        <p:spPr bwMode="auto">
          <a:xfrm>
            <a:off x="4067175" y="2924175"/>
            <a:ext cx="1008063" cy="34131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3600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000" b="1"/>
              <a:t>Хлорофилл </a:t>
            </a:r>
            <a:r>
              <a:rPr lang="en-US" sz="1000" b="1"/>
              <a:t>a</a:t>
            </a:r>
            <a:br>
              <a:rPr lang="en-US" sz="1000" b="1"/>
            </a:br>
            <a:r>
              <a:rPr lang="ru-RU" sz="1000" b="1"/>
              <a:t>Фитохром </a:t>
            </a:r>
            <a:r>
              <a:rPr lang="en-US" sz="1000" b="1"/>
              <a:t>Pr</a:t>
            </a:r>
            <a:endParaRPr lang="ru-RU" sz="1000" b="1"/>
          </a:p>
        </p:txBody>
      </p:sp>
      <p:sp>
        <p:nvSpPr>
          <p:cNvPr id="107532" name="Text Box 12"/>
          <p:cNvSpPr txBox="1">
            <a:spLocks noChangeArrowheads="1"/>
          </p:cNvSpPr>
          <p:nvPr/>
        </p:nvSpPr>
        <p:spPr bwMode="auto">
          <a:xfrm>
            <a:off x="5651500" y="2924175"/>
            <a:ext cx="1152525" cy="34131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3600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000" b="1"/>
              <a:t>Хлорофилл </a:t>
            </a:r>
            <a:r>
              <a:rPr lang="en-US" sz="1000" b="1"/>
              <a:t>b</a:t>
            </a:r>
            <a:br>
              <a:rPr lang="en-US" sz="1000" b="1"/>
            </a:br>
            <a:r>
              <a:rPr lang="ru-RU" sz="1000" b="1"/>
              <a:t>Фитохром </a:t>
            </a:r>
            <a:r>
              <a:rPr lang="en-US" sz="1000" b="1"/>
              <a:t>Pfr</a:t>
            </a:r>
            <a:endParaRPr lang="ru-RU" sz="1000" b="1"/>
          </a:p>
        </p:txBody>
      </p:sp>
      <p:sp>
        <p:nvSpPr>
          <p:cNvPr id="107533" name="Text Box 13"/>
          <p:cNvSpPr txBox="1">
            <a:spLocks noChangeArrowheads="1"/>
          </p:cNvSpPr>
          <p:nvPr/>
        </p:nvSpPr>
        <p:spPr bwMode="auto">
          <a:xfrm>
            <a:off x="7235825" y="2924175"/>
            <a:ext cx="1152525" cy="18891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3600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000" b="1"/>
              <a:t>Каротиноиды</a:t>
            </a:r>
          </a:p>
        </p:txBody>
      </p:sp>
      <p:pic>
        <p:nvPicPr>
          <p:cNvPr id="15" name="Рисунок 14">
            <a:hlinkClick r:id="rId5"/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453336"/>
            <a:ext cx="2526984" cy="29841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3"/>
          <p:cNvSpPr txBox="1">
            <a:spLocks/>
          </p:cNvSpPr>
          <p:nvPr/>
        </p:nvSpPr>
        <p:spPr>
          <a:xfrm>
            <a:off x="539750" y="1357313"/>
            <a:ext cx="8064500" cy="4808537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10000"/>
              </a:lnSpc>
              <a:defRPr/>
            </a:pPr>
            <a:r>
              <a:rPr lang="en-US" b="1" kern="0" dirty="0">
                <a:solidFill>
                  <a:schemeClr val="accent2"/>
                </a:solidFill>
                <a:latin typeface="+mn-lt"/>
              </a:rPr>
              <a:t>Составляющие светового спектра с различными длинами волн по-разному воздействуют на растения:</a:t>
            </a:r>
            <a:endParaRPr lang="ru-RU" b="1" kern="0" dirty="0">
              <a:solidFill>
                <a:schemeClr val="accent2"/>
              </a:solidFill>
              <a:latin typeface="+mn-lt"/>
              <a:cs typeface="+mn-cs"/>
            </a:endParaRPr>
          </a:p>
        </p:txBody>
      </p:sp>
      <p:sp>
        <p:nvSpPr>
          <p:cNvPr id="109570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лияние спектральных составляющих разных длин волн на растения</a:t>
            </a:r>
          </a:p>
        </p:txBody>
      </p:sp>
      <p:sp>
        <p:nvSpPr>
          <p:cNvPr id="109571" name="Textfeld 2"/>
          <p:cNvSpPr txBox="1">
            <a:spLocks noChangeArrowheads="1"/>
          </p:cNvSpPr>
          <p:nvPr/>
        </p:nvSpPr>
        <p:spPr bwMode="auto">
          <a:xfrm>
            <a:off x="539750" y="6021388"/>
            <a:ext cx="1295400" cy="249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10000"/>
              </a:lnSpc>
            </a:pPr>
            <a:r>
              <a:rPr lang="en-US" sz="1000" b="1"/>
              <a:t>Источник: [0]</a:t>
            </a:r>
          </a:p>
        </p:txBody>
      </p:sp>
      <p:graphicFrame>
        <p:nvGraphicFramePr>
          <p:cNvPr id="109644" name="Group 76"/>
          <p:cNvGraphicFramePr>
            <a:graphicFrameLocks noGrp="1"/>
          </p:cNvGraphicFramePr>
          <p:nvPr/>
        </p:nvGraphicFramePr>
        <p:xfrm>
          <a:off x="539750" y="2133600"/>
          <a:ext cx="8075613" cy="3816352"/>
        </p:xfrm>
        <a:graphic>
          <a:graphicData uri="http://schemas.openxmlformats.org/drawingml/2006/table">
            <a:tbl>
              <a:tblPr/>
              <a:tblGrid>
                <a:gridCol w="13573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41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414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6376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716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921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Диапазон длин волн, нм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Фотосинтез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Дальнейшее воздействие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Дальнейшее воздействие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Дальнейшее воздействие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84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200...28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Вредное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84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280...315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Вредное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68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315...38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84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380...4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Да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71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400...52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Да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Вегетативный рост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0641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520...61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В некоторой степени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Вегетативный рост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095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610...720</a:t>
                      </a: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Да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Вегетативный рост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Цветение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чкование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508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720...10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рорастание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Распускание листвы и рост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Цветение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A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08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&gt; 10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ревращение в тепло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3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pic>
        <p:nvPicPr>
          <p:cNvPr id="8" name="Рисунок 7">
            <a:hlinkClick r:id="rId3"/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453336"/>
            <a:ext cx="2526984" cy="29841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Diagramm 8"/>
          <p:cNvGraphicFramePr/>
          <p:nvPr/>
        </p:nvGraphicFramePr>
        <p:xfrm>
          <a:off x="3923928" y="1556792"/>
          <a:ext cx="4824536" cy="4608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1618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Эффективность фотосинтеза определяется в основном хлорофиллом a и b </a:t>
            </a:r>
          </a:p>
        </p:txBody>
      </p:sp>
      <p:sp>
        <p:nvSpPr>
          <p:cNvPr id="6" name="Inhaltsplatzhalter 2"/>
          <p:cNvSpPr txBox="1">
            <a:spLocks/>
          </p:cNvSpPr>
          <p:nvPr/>
        </p:nvSpPr>
        <p:spPr>
          <a:xfrm>
            <a:off x="539750" y="1268413"/>
            <a:ext cx="3240088" cy="4808537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b="1" kern="0" dirty="0">
                <a:solidFill>
                  <a:schemeClr val="accent2"/>
                </a:solidFill>
                <a:latin typeface="+mn-lt"/>
              </a:rPr>
              <a:t> Хлорофилл a и b</a:t>
            </a:r>
          </a:p>
          <a:p>
            <a:pPr>
              <a:lnSpc>
                <a:spcPct val="110000"/>
              </a:lnSpc>
              <a:defRPr/>
            </a:pPr>
            <a:r>
              <a:rPr lang="en-US" sz="1400" kern="0" dirty="0">
                <a:latin typeface="+mn-lt"/>
              </a:rPr>
              <a:t>Отвечает главным образом за фотосинтез и определяет спектр фотосинтетически активной радиации (ФАР).</a:t>
            </a:r>
          </a:p>
          <a:p>
            <a:pPr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b="1" kern="0" dirty="0">
                <a:solidFill>
                  <a:schemeClr val="accent2"/>
                </a:solidFill>
                <a:latin typeface="+mn-lt"/>
              </a:rPr>
              <a:t>  </a:t>
            </a:r>
            <a:r>
              <a:rPr lang="en-US" b="1" kern="0" dirty="0" err="1">
                <a:solidFill>
                  <a:schemeClr val="accent2"/>
                </a:solidFill>
                <a:latin typeface="+mn-lt"/>
              </a:rPr>
              <a:t>Фотосинтетически</a:t>
            </a:r>
            <a:r>
              <a:rPr lang="en-US" b="1" kern="0" dirty="0">
                <a:solidFill>
                  <a:schemeClr val="accent2"/>
                </a:solidFill>
                <a:latin typeface="+mn-lt"/>
              </a:rPr>
              <a:t> </a:t>
            </a:r>
            <a:r>
              <a:rPr lang="en-US" b="1" kern="0" dirty="0" err="1" smtClean="0">
                <a:solidFill>
                  <a:schemeClr val="accent2"/>
                </a:solidFill>
                <a:latin typeface="+mn-lt"/>
              </a:rPr>
              <a:t>активн</a:t>
            </a:r>
            <a:r>
              <a:rPr lang="ru-RU" b="1" kern="0" dirty="0" err="1" smtClean="0">
                <a:solidFill>
                  <a:schemeClr val="accent2"/>
                </a:solidFill>
                <a:latin typeface="+mn-lt"/>
              </a:rPr>
              <a:t>ое</a:t>
            </a:r>
            <a:r>
              <a:rPr lang="en-US" b="1" kern="0" dirty="0" smtClean="0">
                <a:solidFill>
                  <a:schemeClr val="accent2"/>
                </a:solidFill>
                <a:latin typeface="+mn-lt"/>
              </a:rPr>
              <a:t> </a:t>
            </a:r>
            <a:r>
              <a:rPr lang="ru-RU" b="1" kern="0" dirty="0" smtClean="0">
                <a:solidFill>
                  <a:schemeClr val="accent2"/>
                </a:solidFill>
                <a:latin typeface="+mn-lt"/>
              </a:rPr>
              <a:t>излучение</a:t>
            </a:r>
            <a:r>
              <a:rPr lang="en-US" b="1" kern="0" dirty="0" smtClean="0">
                <a:solidFill>
                  <a:schemeClr val="accent2"/>
                </a:solidFill>
                <a:latin typeface="+mn-lt"/>
              </a:rPr>
              <a:t> </a:t>
            </a:r>
            <a:r>
              <a:rPr lang="en-US" b="1" kern="0" dirty="0">
                <a:solidFill>
                  <a:schemeClr val="accent2"/>
                </a:solidFill>
                <a:latin typeface="+mn-lt"/>
              </a:rPr>
              <a:t>(</a:t>
            </a:r>
            <a:r>
              <a:rPr lang="en-US" b="1" kern="0" dirty="0" smtClean="0">
                <a:solidFill>
                  <a:schemeClr val="accent2"/>
                </a:solidFill>
                <a:latin typeface="+mn-lt"/>
              </a:rPr>
              <a:t>ФА</a:t>
            </a:r>
            <a:r>
              <a:rPr lang="ru-RU" b="1" kern="0" dirty="0" smtClean="0">
                <a:solidFill>
                  <a:schemeClr val="accent2"/>
                </a:solidFill>
                <a:latin typeface="+mn-lt"/>
              </a:rPr>
              <a:t>И</a:t>
            </a:r>
            <a:r>
              <a:rPr lang="en-US" b="1" kern="0" dirty="0" smtClean="0">
                <a:solidFill>
                  <a:schemeClr val="accent2"/>
                </a:solidFill>
                <a:latin typeface="+mn-lt"/>
              </a:rPr>
              <a:t>)</a:t>
            </a:r>
            <a:endParaRPr lang="en-US" b="1" kern="0" dirty="0">
              <a:solidFill>
                <a:schemeClr val="accent2"/>
              </a:solidFill>
              <a:latin typeface="+mn-lt"/>
            </a:endParaRPr>
          </a:p>
          <a:p>
            <a:pPr>
              <a:lnSpc>
                <a:spcPct val="110000"/>
              </a:lnSpc>
              <a:defRPr/>
            </a:pPr>
            <a:r>
              <a:rPr lang="en-US" sz="1400" kern="0" dirty="0">
                <a:latin typeface="+mn-lt"/>
              </a:rPr>
              <a:t>Поглощается другими фотосинтетическими пигментами (т. н. антенными пигментами), например каротиноидами бета-каротином, зеаксантином, ликопином и лютеином.</a:t>
            </a:r>
            <a:endParaRPr lang="ru-RU" b="1" kern="0" dirty="0">
              <a:solidFill>
                <a:schemeClr val="accent2"/>
              </a:solidFill>
              <a:latin typeface="+mn-lt"/>
              <a:cs typeface="+mn-cs"/>
            </a:endParaRPr>
          </a:p>
          <a:p>
            <a:pPr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dirty="0"/>
              <a:t> </a:t>
            </a:r>
            <a:r>
              <a:rPr lang="en-US" b="1" kern="0" dirty="0">
                <a:solidFill>
                  <a:schemeClr val="accent2"/>
                </a:solidFill>
                <a:latin typeface="+mn-lt"/>
              </a:rPr>
              <a:t>Каротиноиды</a:t>
            </a:r>
            <a:endParaRPr lang="ru-RU" b="1" kern="0" dirty="0">
              <a:solidFill>
                <a:schemeClr val="accent2"/>
              </a:solidFill>
              <a:latin typeface="+mn-lt"/>
              <a:cs typeface="+mn-cs"/>
            </a:endParaRPr>
          </a:p>
          <a:p>
            <a:pPr>
              <a:lnSpc>
                <a:spcPct val="110000"/>
              </a:lnSpc>
              <a:defRPr/>
            </a:pPr>
            <a:r>
              <a:rPr lang="en-US" sz="1400" kern="0" dirty="0">
                <a:latin typeface="+mn-lt"/>
              </a:rPr>
              <a:t>Группа фотосинтетических пигментов, известных под названием антенных пигментов: </a:t>
            </a:r>
            <a:r>
              <a:rPr lang="en-US" sz="1400" kern="0" dirty="0">
                <a:latin typeface="+mn-lt"/>
                <a:sym typeface="Symbol"/>
              </a:rPr>
              <a:t>-каротин, зеаксантин, ликопин, лютеин и др.</a:t>
            </a:r>
          </a:p>
          <a:p>
            <a:pPr>
              <a:lnSpc>
                <a:spcPct val="110000"/>
              </a:lnSpc>
              <a:defRPr/>
            </a:pPr>
            <a:endParaRPr lang="ru-RU" sz="1400" kern="0" dirty="0">
              <a:latin typeface="+mn-lt"/>
              <a:cs typeface="+mn-cs"/>
              <a:sym typeface="Symbol"/>
            </a:endParaRPr>
          </a:p>
        </p:txBody>
      </p:sp>
      <p:sp>
        <p:nvSpPr>
          <p:cNvPr id="111620" name="Rechteck 6"/>
          <p:cNvSpPr>
            <a:spLocks noChangeArrowheads="1"/>
          </p:cNvSpPr>
          <p:nvPr/>
        </p:nvSpPr>
        <p:spPr bwMode="auto">
          <a:xfrm>
            <a:off x="4203700" y="2133600"/>
            <a:ext cx="4340225" cy="3625850"/>
          </a:xfrm>
          <a:prstGeom prst="rect">
            <a:avLst/>
          </a:prstGeom>
          <a:noFill/>
          <a:ln w="57150" algn="ctr">
            <a:solidFill>
              <a:schemeClr val="accent1"/>
            </a:solidFill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pPr algn="ctr">
              <a:lnSpc>
                <a:spcPct val="110000"/>
              </a:lnSpc>
            </a:pPr>
            <a:endParaRPr lang="en-US" sz="1600"/>
          </a:p>
        </p:txBody>
      </p:sp>
      <p:sp>
        <p:nvSpPr>
          <p:cNvPr id="111621" name="Textfeld 7"/>
          <p:cNvSpPr txBox="1">
            <a:spLocks noChangeArrowheads="1"/>
          </p:cNvSpPr>
          <p:nvPr/>
        </p:nvSpPr>
        <p:spPr bwMode="auto">
          <a:xfrm>
            <a:off x="5384800" y="1412875"/>
            <a:ext cx="2090738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b="1">
                <a:solidFill>
                  <a:schemeClr val="accent1"/>
                </a:solidFill>
              </a:rPr>
              <a:t>ФАР 400...700 нм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539750" y="6021388"/>
            <a:ext cx="1185863" cy="26193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defRPr/>
            </a:pPr>
            <a:r>
              <a:rPr lang="en-US" sz="1000" b="1" kern="0" dirty="0"/>
              <a:t>Источник: [18],[19]</a:t>
            </a:r>
          </a:p>
        </p:txBody>
      </p:sp>
      <p:sp>
        <p:nvSpPr>
          <p:cNvPr id="111624" name="Text Box 8"/>
          <p:cNvSpPr txBox="1">
            <a:spLocks noChangeArrowheads="1"/>
          </p:cNvSpPr>
          <p:nvPr/>
        </p:nvSpPr>
        <p:spPr bwMode="auto">
          <a:xfrm>
            <a:off x="6443663" y="2420938"/>
            <a:ext cx="1152525" cy="84931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36000">
            <a:spAutoFit/>
          </a:bodyPr>
          <a:lstStyle/>
          <a:p>
            <a:pPr>
              <a:lnSpc>
                <a:spcPct val="115000"/>
              </a:lnSpc>
              <a:spcBef>
                <a:spcPct val="50000"/>
              </a:spcBef>
            </a:pPr>
            <a:r>
              <a:rPr lang="ru-RU" sz="1200" b="1"/>
              <a:t>Хлорофилл </a:t>
            </a:r>
            <a:r>
              <a:rPr lang="en-US" sz="1200" b="1"/>
              <a:t>a</a:t>
            </a:r>
            <a:endParaRPr lang="ru-RU" sz="1200" b="1"/>
          </a:p>
          <a:p>
            <a:pPr>
              <a:lnSpc>
                <a:spcPct val="115000"/>
              </a:lnSpc>
              <a:spcBef>
                <a:spcPct val="50000"/>
              </a:spcBef>
            </a:pPr>
            <a:r>
              <a:rPr lang="ru-RU" sz="1200" b="1"/>
              <a:t>Хлорофилл </a:t>
            </a:r>
            <a:r>
              <a:rPr lang="en-US" sz="1200" b="1"/>
              <a:t>b</a:t>
            </a:r>
          </a:p>
          <a:p>
            <a:pPr>
              <a:lnSpc>
                <a:spcPct val="115000"/>
              </a:lnSpc>
              <a:spcBef>
                <a:spcPct val="50000"/>
              </a:spcBef>
            </a:pPr>
            <a:r>
              <a:rPr lang="ru-RU" sz="1200" b="1"/>
              <a:t>Каротиноиды</a:t>
            </a:r>
          </a:p>
        </p:txBody>
      </p:sp>
      <p:pic>
        <p:nvPicPr>
          <p:cNvPr id="12" name="Рисунок 11">
            <a:hlinkClick r:id="rId4"/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453336"/>
            <a:ext cx="2526984" cy="29841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5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На фотоморфогенетические эффекты влияют в основном фитохромы Pr и Pfr </a:t>
            </a:r>
          </a:p>
        </p:txBody>
      </p:sp>
      <p:sp>
        <p:nvSpPr>
          <p:cNvPr id="6" name="Inhaltsplatzhalter 2"/>
          <p:cNvSpPr txBox="1">
            <a:spLocks/>
          </p:cNvSpPr>
          <p:nvPr/>
        </p:nvSpPr>
        <p:spPr>
          <a:xfrm>
            <a:off x="468313" y="1357313"/>
            <a:ext cx="3527425" cy="4808537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10000"/>
              </a:lnSpc>
            </a:pPr>
            <a:r>
              <a:rPr lang="ru-RU" sz="900"/>
              <a:t> </a:t>
            </a:r>
          </a:p>
          <a:p>
            <a:pPr>
              <a:lnSpc>
                <a:spcPct val="110000"/>
              </a:lnSpc>
              <a:buFont typeface="Arial" charset="0"/>
              <a:buChar char="•"/>
            </a:pPr>
            <a:r>
              <a:rPr lang="en-US" b="1">
                <a:solidFill>
                  <a:schemeClr val="accent2"/>
                </a:solidFill>
              </a:rPr>
              <a:t> Фитохромы Pr и Pfr</a:t>
            </a:r>
            <a:endParaRPr lang="ru-RU" b="1">
              <a:solidFill>
                <a:schemeClr val="accent2"/>
              </a:solidFill>
            </a:endParaRPr>
          </a:p>
          <a:p>
            <a:pPr>
              <a:lnSpc>
                <a:spcPct val="110000"/>
              </a:lnSpc>
            </a:pPr>
            <a:endParaRPr lang="ru-RU" sz="1400"/>
          </a:p>
          <a:p>
            <a:pPr>
              <a:lnSpc>
                <a:spcPct val="110000"/>
              </a:lnSpc>
            </a:pPr>
            <a:r>
              <a:rPr lang="en-US" sz="1400"/>
              <a:t>Фитохромы Pr (поглощает красный свет) и Pfr (поглощает дальний красный свет) влияют главным образом на прорастание, рост растения, распускание листвы и цветение.</a:t>
            </a:r>
          </a:p>
          <a:p>
            <a:pPr>
              <a:lnSpc>
                <a:spcPct val="110000"/>
              </a:lnSpc>
              <a:buFont typeface="Arial" charset="0"/>
              <a:buChar char="•"/>
            </a:pPr>
            <a:endParaRPr lang="ru-RU" b="1">
              <a:solidFill>
                <a:schemeClr val="accent2"/>
              </a:solidFill>
            </a:endParaRPr>
          </a:p>
          <a:p>
            <a:pPr>
              <a:lnSpc>
                <a:spcPct val="110000"/>
              </a:lnSpc>
              <a:buFont typeface="Arial" charset="0"/>
              <a:buChar char="•"/>
            </a:pPr>
            <a:endParaRPr lang="ru-RU" sz="900" b="1">
              <a:solidFill>
                <a:schemeClr val="accent2"/>
              </a:solidFill>
            </a:endParaRPr>
          </a:p>
          <a:p>
            <a:pPr>
              <a:lnSpc>
                <a:spcPct val="110000"/>
              </a:lnSpc>
              <a:buFont typeface="Arial" charset="0"/>
              <a:buChar char="•"/>
            </a:pPr>
            <a:r>
              <a:rPr lang="en-US" b="1">
                <a:solidFill>
                  <a:schemeClr val="accent2"/>
                </a:solidFill>
              </a:rPr>
              <a:t>Фотоморфогенетические эффекты</a:t>
            </a:r>
          </a:p>
          <a:p>
            <a:pPr>
              <a:lnSpc>
                <a:spcPct val="110000"/>
              </a:lnSpc>
            </a:pPr>
            <a:endParaRPr lang="ru-RU" sz="1400"/>
          </a:p>
          <a:p>
            <a:pPr>
              <a:lnSpc>
                <a:spcPct val="110000"/>
              </a:lnSpc>
            </a:pPr>
            <a:r>
              <a:rPr lang="en-US" sz="1400"/>
              <a:t>Фотоморфогенетическими эффектами можно управлять, возбуждая фитохромы Pr и Pfr светом, содержащим определенную смесь спектральных составляющих с длинами волн 660 и 730 нм.</a:t>
            </a:r>
          </a:p>
          <a:p>
            <a:pPr>
              <a:lnSpc>
                <a:spcPct val="110000"/>
              </a:lnSpc>
            </a:pPr>
            <a:endParaRPr lang="ru-RU" sz="1400"/>
          </a:p>
          <a:p>
            <a:pPr>
              <a:lnSpc>
                <a:spcPct val="110000"/>
              </a:lnSpc>
            </a:pPr>
            <a:endParaRPr lang="ru-RU" sz="1400"/>
          </a:p>
          <a:p>
            <a:pPr>
              <a:lnSpc>
                <a:spcPct val="110000"/>
              </a:lnSpc>
            </a:pPr>
            <a:endParaRPr lang="ru-RU" sz="1400"/>
          </a:p>
          <a:p>
            <a:pPr>
              <a:lnSpc>
                <a:spcPct val="110000"/>
              </a:lnSpc>
            </a:pPr>
            <a:endParaRPr lang="ru-RU" b="1">
              <a:solidFill>
                <a:schemeClr val="accent2"/>
              </a:solidFill>
            </a:endParaRPr>
          </a:p>
          <a:p>
            <a:pPr>
              <a:lnSpc>
                <a:spcPct val="110000"/>
              </a:lnSpc>
            </a:pPr>
            <a:endParaRPr lang="ru-RU" b="1">
              <a:solidFill>
                <a:schemeClr val="accent2"/>
              </a:solidFill>
            </a:endParaRPr>
          </a:p>
          <a:p>
            <a:pPr>
              <a:lnSpc>
                <a:spcPct val="110000"/>
              </a:lnSpc>
              <a:buFont typeface="Arial" charset="0"/>
              <a:buChar char="•"/>
            </a:pPr>
            <a:endParaRPr lang="ru-RU" b="1">
              <a:solidFill>
                <a:schemeClr val="accent2"/>
              </a:solidFill>
            </a:endParaRPr>
          </a:p>
          <a:p>
            <a:pPr>
              <a:lnSpc>
                <a:spcPct val="110000"/>
              </a:lnSpc>
              <a:buFont typeface="Arial" charset="0"/>
              <a:buChar char="•"/>
            </a:pPr>
            <a:endParaRPr lang="ru-RU" b="1">
              <a:solidFill>
                <a:schemeClr val="accent2"/>
              </a:solidFill>
            </a:endParaRPr>
          </a:p>
        </p:txBody>
      </p:sp>
      <p:graphicFrame>
        <p:nvGraphicFramePr>
          <p:cNvPr id="5" name="Diagramm 4"/>
          <p:cNvGraphicFramePr/>
          <p:nvPr/>
        </p:nvGraphicFramePr>
        <p:xfrm>
          <a:off x="3923928" y="1412775"/>
          <a:ext cx="4680520" cy="46805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3669" name="Text Box 5"/>
          <p:cNvSpPr txBox="1">
            <a:spLocks noChangeArrowheads="1"/>
          </p:cNvSpPr>
          <p:nvPr/>
        </p:nvSpPr>
        <p:spPr bwMode="auto">
          <a:xfrm>
            <a:off x="4716463" y="1773238"/>
            <a:ext cx="1295400" cy="54768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36000">
            <a:spAutoFit/>
          </a:bodyPr>
          <a:lstStyle/>
          <a:p>
            <a:pPr>
              <a:lnSpc>
                <a:spcPct val="115000"/>
              </a:lnSpc>
              <a:spcBef>
                <a:spcPct val="50000"/>
              </a:spcBef>
            </a:pPr>
            <a:r>
              <a:rPr lang="ru-RU" sz="1200" b="1"/>
              <a:t>Фитохром </a:t>
            </a:r>
            <a:r>
              <a:rPr lang="en-US" sz="1200" b="1"/>
              <a:t>Pr</a:t>
            </a:r>
            <a:endParaRPr lang="ru-RU" sz="1200" b="1"/>
          </a:p>
          <a:p>
            <a:pPr>
              <a:lnSpc>
                <a:spcPct val="115000"/>
              </a:lnSpc>
              <a:spcBef>
                <a:spcPct val="50000"/>
              </a:spcBef>
            </a:pPr>
            <a:r>
              <a:rPr lang="ru-RU" sz="1200" b="1"/>
              <a:t>Фитохром </a:t>
            </a:r>
            <a:r>
              <a:rPr lang="en-US" sz="1200" b="1"/>
              <a:t>Pfr</a:t>
            </a:r>
            <a:endParaRPr lang="ru-RU" sz="1200" b="1"/>
          </a:p>
        </p:txBody>
      </p:sp>
      <p:pic>
        <p:nvPicPr>
          <p:cNvPr id="8" name="Рисунок 7">
            <a:hlinkClick r:id="rId4"/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453336"/>
            <a:ext cx="2526984" cy="29841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3" name="Titel 1"/>
          <p:cNvSpPr>
            <a:spLocks noGrp="1"/>
          </p:cNvSpPr>
          <p:nvPr>
            <p:ph type="title"/>
          </p:nvPr>
        </p:nvSpPr>
        <p:spPr>
          <a:xfrm>
            <a:off x="539750" y="404813"/>
            <a:ext cx="8064500" cy="814387"/>
          </a:xfrm>
        </p:spPr>
        <p:txBody>
          <a:bodyPr/>
          <a:lstStyle/>
          <a:p>
            <a:r>
              <a:rPr lang="ru-RU" smtClean="0"/>
              <a:t>Поэтому в сфере растениеводческого освещения мы сосредотачиваемся на светодиодах с длинами волн 450, 660 и 730 нм </a:t>
            </a:r>
          </a:p>
        </p:txBody>
      </p:sp>
      <p:sp>
        <p:nvSpPr>
          <p:cNvPr id="115714" name="Inhaltsplatzhalter 3"/>
          <p:cNvSpPr>
            <a:spLocks noGrp="1"/>
          </p:cNvSpPr>
          <p:nvPr>
            <p:ph idx="1"/>
          </p:nvPr>
        </p:nvSpPr>
        <p:spPr>
          <a:xfrm>
            <a:off x="539750" y="1196975"/>
            <a:ext cx="8064500" cy="4808538"/>
          </a:xfrm>
        </p:spPr>
        <p:txBody>
          <a:bodyPr/>
          <a:lstStyle/>
          <a:p>
            <a:pPr marL="0" indent="0"/>
            <a:r>
              <a:rPr lang="ru-RU" sz="1600" smtClean="0"/>
              <a:t>Светодиоды с излучением на всех трех важных длинах волн предлагаются в корпусе одного типа:</a:t>
            </a:r>
          </a:p>
        </p:txBody>
      </p:sp>
      <p:graphicFrame>
        <p:nvGraphicFramePr>
          <p:cNvPr id="7" name="Diagramm 6"/>
          <p:cNvGraphicFramePr/>
          <p:nvPr/>
        </p:nvGraphicFramePr>
        <p:xfrm>
          <a:off x="539552" y="1700808"/>
          <a:ext cx="8064896" cy="45365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5717" name="Text Box 5"/>
          <p:cNvSpPr txBox="1">
            <a:spLocks noChangeArrowheads="1"/>
          </p:cNvSpPr>
          <p:nvPr/>
        </p:nvSpPr>
        <p:spPr bwMode="auto">
          <a:xfrm>
            <a:off x="3276600" y="1916113"/>
            <a:ext cx="1512888" cy="178911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3600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000"/>
              <a:t>Хлорофилл </a:t>
            </a:r>
            <a:r>
              <a:rPr lang="en-US" sz="1000"/>
              <a:t>a</a:t>
            </a:r>
            <a:endParaRPr lang="ru-RU" sz="1000"/>
          </a:p>
          <a:p>
            <a:pPr>
              <a:spcBef>
                <a:spcPct val="50000"/>
              </a:spcBef>
            </a:pPr>
            <a:r>
              <a:rPr lang="ru-RU" sz="1000"/>
              <a:t>Хлорофилл </a:t>
            </a:r>
            <a:r>
              <a:rPr lang="en-US" sz="1000"/>
              <a:t>b</a:t>
            </a:r>
          </a:p>
          <a:p>
            <a:pPr>
              <a:spcBef>
                <a:spcPct val="50000"/>
              </a:spcBef>
            </a:pPr>
            <a:r>
              <a:rPr lang="ru-RU" sz="1000"/>
              <a:t>Каротиноиды</a:t>
            </a:r>
            <a:endParaRPr lang="en-US" sz="1000"/>
          </a:p>
          <a:p>
            <a:pPr>
              <a:spcBef>
                <a:spcPct val="50000"/>
              </a:spcBef>
            </a:pPr>
            <a:r>
              <a:rPr lang="ru-RU" sz="1000"/>
              <a:t>Фитохром </a:t>
            </a:r>
            <a:r>
              <a:rPr lang="en-US" sz="1000"/>
              <a:t>Pr</a:t>
            </a:r>
          </a:p>
          <a:p>
            <a:pPr>
              <a:spcBef>
                <a:spcPct val="50000"/>
              </a:spcBef>
            </a:pPr>
            <a:r>
              <a:rPr lang="ru-RU" sz="1000"/>
              <a:t>Фитохром </a:t>
            </a:r>
            <a:r>
              <a:rPr lang="en-US" sz="1000"/>
              <a:t>Pfr</a:t>
            </a:r>
          </a:p>
          <a:p>
            <a:pPr>
              <a:spcBef>
                <a:spcPct val="50000"/>
              </a:spcBef>
            </a:pPr>
            <a:r>
              <a:rPr lang="ru-RU" sz="1000"/>
              <a:t>Синий 450 нм</a:t>
            </a:r>
          </a:p>
          <a:p>
            <a:pPr>
              <a:spcBef>
                <a:spcPct val="50000"/>
              </a:spcBef>
            </a:pPr>
            <a:r>
              <a:rPr lang="ru-RU" sz="1000"/>
              <a:t>Гипер-красный 660 нм</a:t>
            </a:r>
          </a:p>
          <a:p>
            <a:pPr>
              <a:spcBef>
                <a:spcPct val="50000"/>
              </a:spcBef>
            </a:pPr>
            <a:r>
              <a:rPr lang="ru-RU" sz="1000"/>
              <a:t>Дальний красный 730 нм</a:t>
            </a:r>
          </a:p>
        </p:txBody>
      </p:sp>
      <p:pic>
        <p:nvPicPr>
          <p:cNvPr id="9" name="Рисунок 8">
            <a:hlinkClick r:id="rId4"/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8064" y="6453336"/>
            <a:ext cx="2526984" cy="29841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3t8o.cemEieaQ_1hWkv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XGd1RErh0.JkgDNs.M07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hrCmA71DkGBkczeK5yTV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hrCmA71DkGBkczeK5yT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XGd1RErh0.JkgDNs.M07A"/>
</p:tagLst>
</file>

<file path=ppt/theme/theme1.xml><?xml version="1.0" encoding="utf-8"?>
<a:theme xmlns:a="http://schemas.openxmlformats.org/drawingml/2006/main" name="Default">
  <a:themeElements>
    <a:clrScheme name="OSRAM 2014-02-13">
      <a:dk1>
        <a:srgbClr val="000000"/>
      </a:dk1>
      <a:lt1>
        <a:srgbClr val="FFFFFF"/>
      </a:lt1>
      <a:dk2>
        <a:srgbClr val="FDEADB"/>
      </a:dk2>
      <a:lt2>
        <a:srgbClr val="E3E4E5"/>
      </a:lt2>
      <a:accent1>
        <a:srgbClr val="FF6600"/>
      </a:accent1>
      <a:accent2>
        <a:srgbClr val="58585A"/>
      </a:accent2>
      <a:accent3>
        <a:srgbClr val="87888A"/>
      </a:accent3>
      <a:accent4>
        <a:srgbClr val="A7A8AA"/>
      </a:accent4>
      <a:accent5>
        <a:srgbClr val="C5C6C8"/>
      </a:accent5>
      <a:accent6>
        <a:srgbClr val="D9DADB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rtlCol="0">
        <a:spAutoFit/>
      </a:bodyPr>
      <a:lstStyle>
        <a:defPPr>
          <a:lnSpc>
            <a:spcPct val="110000"/>
          </a:lnSpc>
          <a:defRPr sz="1600" smtClean="0"/>
        </a:defPPr>
      </a:lstStyle>
    </a:tx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FDEADB"/>
        </a:dk2>
        <a:lt2>
          <a:srgbClr val="E3E4E5"/>
        </a:lt2>
        <a:accent1>
          <a:srgbClr val="E65D21"/>
        </a:accent1>
        <a:accent2>
          <a:srgbClr val="58585A"/>
        </a:accent2>
        <a:accent3>
          <a:srgbClr val="FFFFFF"/>
        </a:accent3>
        <a:accent4>
          <a:srgbClr val="000000"/>
        </a:accent4>
        <a:accent5>
          <a:srgbClr val="F0B6AB"/>
        </a:accent5>
        <a:accent6>
          <a:srgbClr val="4F4F51"/>
        </a:accent6>
        <a:hlink>
          <a:srgbClr val="87888A"/>
        </a:hlink>
        <a:folHlink>
          <a:srgbClr val="C5C6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OS PowerPoint Presentation Template Office 2007">
  <a:themeElements>
    <a:clrScheme name="OSRAM PPT 2012-09-16">
      <a:dk1>
        <a:srgbClr val="000000"/>
      </a:dk1>
      <a:lt1>
        <a:srgbClr val="FFFFFF"/>
      </a:lt1>
      <a:dk2>
        <a:srgbClr val="FDEADB"/>
      </a:dk2>
      <a:lt2>
        <a:srgbClr val="E3E4E5"/>
      </a:lt2>
      <a:accent1>
        <a:srgbClr val="E65D21"/>
      </a:accent1>
      <a:accent2>
        <a:srgbClr val="58585A"/>
      </a:accent2>
      <a:accent3>
        <a:srgbClr val="87888A"/>
      </a:accent3>
      <a:accent4>
        <a:srgbClr val="A7A8AA"/>
      </a:accent4>
      <a:accent5>
        <a:srgbClr val="C5C6C8"/>
      </a:accent5>
      <a:accent6>
        <a:srgbClr val="D9DADB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rtlCol="0">
        <a:spAutoFit/>
      </a:bodyPr>
      <a:lstStyle>
        <a:defPPr>
          <a:lnSpc>
            <a:spcPct val="110000"/>
          </a:lnSpc>
          <a:defRPr sz="1600" smtClean="0"/>
        </a:defPPr>
      </a:lstStyle>
    </a:tx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FDEADB"/>
        </a:dk2>
        <a:lt2>
          <a:srgbClr val="E3E4E5"/>
        </a:lt2>
        <a:accent1>
          <a:srgbClr val="E65D21"/>
        </a:accent1>
        <a:accent2>
          <a:srgbClr val="58585A"/>
        </a:accent2>
        <a:accent3>
          <a:srgbClr val="FFFFFF"/>
        </a:accent3>
        <a:accent4>
          <a:srgbClr val="000000"/>
        </a:accent4>
        <a:accent5>
          <a:srgbClr val="F0B6AB"/>
        </a:accent5>
        <a:accent6>
          <a:srgbClr val="4F4F51"/>
        </a:accent6>
        <a:hlink>
          <a:srgbClr val="87888A"/>
        </a:hlink>
        <a:folHlink>
          <a:srgbClr val="C5C6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OSRAM">
  <a:themeElements>
    <a:clrScheme name="OSRAM 1">
      <a:dk1>
        <a:srgbClr val="000000"/>
      </a:dk1>
      <a:lt1>
        <a:srgbClr val="FFFFFF"/>
      </a:lt1>
      <a:dk2>
        <a:srgbClr val="FDEADB"/>
      </a:dk2>
      <a:lt2>
        <a:srgbClr val="E3E4E5"/>
      </a:lt2>
      <a:accent1>
        <a:srgbClr val="E65D21"/>
      </a:accent1>
      <a:accent2>
        <a:srgbClr val="58585A"/>
      </a:accent2>
      <a:accent3>
        <a:srgbClr val="FFFFFF"/>
      </a:accent3>
      <a:accent4>
        <a:srgbClr val="000000"/>
      </a:accent4>
      <a:accent5>
        <a:srgbClr val="F0B6AB"/>
      </a:accent5>
      <a:accent6>
        <a:srgbClr val="4F4F51"/>
      </a:accent6>
      <a:hlink>
        <a:srgbClr val="87888A"/>
      </a:hlink>
      <a:folHlink>
        <a:srgbClr val="C5C6C8"/>
      </a:folHlink>
    </a:clrScheme>
    <a:fontScheme name="OSRAM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hlink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hlink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OSRAM 1">
        <a:dk1>
          <a:srgbClr val="000000"/>
        </a:dk1>
        <a:lt1>
          <a:srgbClr val="FFFFFF"/>
        </a:lt1>
        <a:dk2>
          <a:srgbClr val="FDEADB"/>
        </a:dk2>
        <a:lt2>
          <a:srgbClr val="E3E4E5"/>
        </a:lt2>
        <a:accent1>
          <a:srgbClr val="E65D21"/>
        </a:accent1>
        <a:accent2>
          <a:srgbClr val="58585A"/>
        </a:accent2>
        <a:accent3>
          <a:srgbClr val="FFFFFF"/>
        </a:accent3>
        <a:accent4>
          <a:srgbClr val="000000"/>
        </a:accent4>
        <a:accent5>
          <a:srgbClr val="F0B6AB"/>
        </a:accent5>
        <a:accent6>
          <a:srgbClr val="4F4F51"/>
        </a:accent6>
        <a:hlink>
          <a:srgbClr val="87888A"/>
        </a:hlink>
        <a:folHlink>
          <a:srgbClr val="C5C6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Default Theme">
  <a:themeElements>
    <a:clrScheme name="Standarddesign 1">
      <a:dk1>
        <a:srgbClr val="000000"/>
      </a:dk1>
      <a:lt1>
        <a:srgbClr val="FFFFFF"/>
      </a:lt1>
      <a:dk2>
        <a:srgbClr val="FDEADB"/>
      </a:dk2>
      <a:lt2>
        <a:srgbClr val="E3E4E5"/>
      </a:lt2>
      <a:accent1>
        <a:srgbClr val="E65D21"/>
      </a:accent1>
      <a:accent2>
        <a:srgbClr val="58585A"/>
      </a:accent2>
      <a:accent3>
        <a:srgbClr val="FFFFFF"/>
      </a:accent3>
      <a:accent4>
        <a:srgbClr val="000000"/>
      </a:accent4>
      <a:accent5>
        <a:srgbClr val="F0B6AB"/>
      </a:accent5>
      <a:accent6>
        <a:srgbClr val="4F4F51"/>
      </a:accent6>
      <a:hlink>
        <a:srgbClr val="87888A"/>
      </a:hlink>
      <a:folHlink>
        <a:srgbClr val="C5C6C8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rtlCol="0">
        <a:spAutoFit/>
      </a:bodyPr>
      <a:lstStyle>
        <a:defPPr>
          <a:lnSpc>
            <a:spcPct val="110000"/>
          </a:lnSpc>
          <a:defRPr sz="1600" smtClean="0"/>
        </a:defPPr>
      </a:lstStyle>
    </a:tx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FDEADB"/>
        </a:dk2>
        <a:lt2>
          <a:srgbClr val="E3E4E5"/>
        </a:lt2>
        <a:accent1>
          <a:srgbClr val="E65D21"/>
        </a:accent1>
        <a:accent2>
          <a:srgbClr val="58585A"/>
        </a:accent2>
        <a:accent3>
          <a:srgbClr val="FFFFFF"/>
        </a:accent3>
        <a:accent4>
          <a:srgbClr val="000000"/>
        </a:accent4>
        <a:accent5>
          <a:srgbClr val="F0B6AB"/>
        </a:accent5>
        <a:accent6>
          <a:srgbClr val="4F4F51"/>
        </a:accent6>
        <a:hlink>
          <a:srgbClr val="87888A"/>
        </a:hlink>
        <a:folHlink>
          <a:srgbClr val="C5C6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OS PowerPoint Presentation Template Office 2007">
  <a:themeElements>
    <a:clrScheme name="OSRAM PPT 2012-09-16">
      <a:dk1>
        <a:srgbClr val="000000"/>
      </a:dk1>
      <a:lt1>
        <a:srgbClr val="FFFFFF"/>
      </a:lt1>
      <a:dk2>
        <a:srgbClr val="FDEADB"/>
      </a:dk2>
      <a:lt2>
        <a:srgbClr val="E3E4E5"/>
      </a:lt2>
      <a:accent1>
        <a:srgbClr val="E65D21"/>
      </a:accent1>
      <a:accent2>
        <a:srgbClr val="58585A"/>
      </a:accent2>
      <a:accent3>
        <a:srgbClr val="87888A"/>
      </a:accent3>
      <a:accent4>
        <a:srgbClr val="A7A8AA"/>
      </a:accent4>
      <a:accent5>
        <a:srgbClr val="C5C6C8"/>
      </a:accent5>
      <a:accent6>
        <a:srgbClr val="D9DADB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rtlCol="0">
        <a:spAutoFit/>
      </a:bodyPr>
      <a:lstStyle>
        <a:defPPr>
          <a:lnSpc>
            <a:spcPct val="110000"/>
          </a:lnSpc>
          <a:defRPr sz="1600" smtClean="0"/>
        </a:defPPr>
      </a:lstStyle>
    </a:tx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FDEADB"/>
        </a:dk2>
        <a:lt2>
          <a:srgbClr val="E3E4E5"/>
        </a:lt2>
        <a:accent1>
          <a:srgbClr val="E65D21"/>
        </a:accent1>
        <a:accent2>
          <a:srgbClr val="58585A"/>
        </a:accent2>
        <a:accent3>
          <a:srgbClr val="FFFFFF"/>
        </a:accent3>
        <a:accent4>
          <a:srgbClr val="000000"/>
        </a:accent4>
        <a:accent5>
          <a:srgbClr val="F0B6AB"/>
        </a:accent5>
        <a:accent6>
          <a:srgbClr val="4F4F51"/>
        </a:accent6>
        <a:hlink>
          <a:srgbClr val="87888A"/>
        </a:hlink>
        <a:folHlink>
          <a:srgbClr val="C5C6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7_OS PowerPoint Presentation Template Office 2007">
  <a:themeElements>
    <a:clrScheme name="OSRAM PPT 2012-09-16">
      <a:dk1>
        <a:srgbClr val="000000"/>
      </a:dk1>
      <a:lt1>
        <a:srgbClr val="FFFFFF"/>
      </a:lt1>
      <a:dk2>
        <a:srgbClr val="FDEADB"/>
      </a:dk2>
      <a:lt2>
        <a:srgbClr val="E3E4E5"/>
      </a:lt2>
      <a:accent1>
        <a:srgbClr val="E65D21"/>
      </a:accent1>
      <a:accent2>
        <a:srgbClr val="58585A"/>
      </a:accent2>
      <a:accent3>
        <a:srgbClr val="87888A"/>
      </a:accent3>
      <a:accent4>
        <a:srgbClr val="A7A8AA"/>
      </a:accent4>
      <a:accent5>
        <a:srgbClr val="C5C6C8"/>
      </a:accent5>
      <a:accent6>
        <a:srgbClr val="D9DADB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rtlCol="0">
        <a:spAutoFit/>
      </a:bodyPr>
      <a:lstStyle>
        <a:defPPr>
          <a:lnSpc>
            <a:spcPct val="110000"/>
          </a:lnSpc>
          <a:defRPr sz="1600" smtClean="0"/>
        </a:defPPr>
      </a:lstStyle>
    </a:tx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FDEADB"/>
        </a:dk2>
        <a:lt2>
          <a:srgbClr val="E3E4E5"/>
        </a:lt2>
        <a:accent1>
          <a:srgbClr val="E65D21"/>
        </a:accent1>
        <a:accent2>
          <a:srgbClr val="58585A"/>
        </a:accent2>
        <a:accent3>
          <a:srgbClr val="FFFFFF"/>
        </a:accent3>
        <a:accent4>
          <a:srgbClr val="000000"/>
        </a:accent4>
        <a:accent5>
          <a:srgbClr val="F0B6AB"/>
        </a:accent5>
        <a:accent6>
          <a:srgbClr val="4F4F51"/>
        </a:accent6>
        <a:hlink>
          <a:srgbClr val="87888A"/>
        </a:hlink>
        <a:folHlink>
          <a:srgbClr val="C5C6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A502C3058D5034084524A1860E5D32C" ma:contentTypeVersion="3" ma:contentTypeDescription="Create a new document." ma:contentTypeScope="" ma:versionID="9f17dafc457a57f5088be0b7fa2ee3bb">
  <xsd:schema xmlns:xsd="http://www.w3.org/2001/XMLSchema" xmlns:xs="http://www.w3.org/2001/XMLSchema" xmlns:p="http://schemas.microsoft.com/office/2006/metadata/properties" xmlns:ns2="fb331321-5f8d-4cdb-88fc-ffe54c217c81" xmlns:ns3="74ffb7e6-092d-4538-a09d-7e0bb066b0b7" targetNamespace="http://schemas.microsoft.com/office/2006/metadata/properties" ma:root="true" ma:fieldsID="4e022f6d334698cbc111f35f1c1580b0" ns2:_="" ns3:_="">
    <xsd:import namespace="fb331321-5f8d-4cdb-88fc-ffe54c217c81"/>
    <xsd:import namespace="74ffb7e6-092d-4538-a09d-7e0bb066b0b7"/>
    <xsd:element name="properties">
      <xsd:complexType>
        <xsd:sequence>
          <xsd:element name="documentManagement">
            <xsd:complexType>
              <xsd:all>
                <xsd:element ref="ns2:Brand"/>
                <xsd:element ref="ns2:Sub_x0020_Brand"/>
                <xsd:element ref="ns2:Device"/>
                <xsd:element ref="ns3:_dlc_DocId" minOccurs="0"/>
                <xsd:element ref="ns3:_dlc_DocIdUrl" minOccurs="0"/>
                <xsd:element ref="ns3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331321-5f8d-4cdb-88fc-ffe54c217c81" elementFormDefault="qualified">
    <xsd:import namespace="http://schemas.microsoft.com/office/2006/documentManagement/types"/>
    <xsd:import namespace="http://schemas.microsoft.com/office/infopath/2007/PartnerControls"/>
    <xsd:element name="Brand" ma:index="8" ma:displayName="Brand" ma:internalName="Brand">
      <xsd:simpleType>
        <xsd:restriction base="dms:Text">
          <xsd:maxLength value="255"/>
        </xsd:restriction>
      </xsd:simpleType>
    </xsd:element>
    <xsd:element name="Sub_x0020_Brand" ma:index="9" ma:displayName="Sub Brand" ma:internalName="Sub_x0020_Brand">
      <xsd:simpleType>
        <xsd:restriction base="dms:Text">
          <xsd:maxLength value="255"/>
        </xsd:restriction>
      </xsd:simpleType>
    </xsd:element>
    <xsd:element name="Device" ma:index="10" ma:displayName="Device" ma:internalName="Device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ffb7e6-092d-4538-a09d-7e0bb066b0b7" elementFormDefault="qualified">
    <xsd:import namespace="http://schemas.microsoft.com/office/2006/documentManagement/types"/>
    <xsd:import namespace="http://schemas.microsoft.com/office/infopath/2007/PartnerControls"/>
    <xsd:element name="_dlc_DocId" ma:index="11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2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3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>
  <documentManagement>
    <Brand xmlns="fb331321-5f8d-4cdb-88fc-ffe54c217c81">OSLON </Brand>
    <Sub_x0020_Brand xmlns="fb331321-5f8d-4cdb-88fc-ffe54c217c81">SSL</Sub_x0020_Brand>
    <Device xmlns="fb331321-5f8d-4cdb-88fc-ffe54c217c81">x</Device>
    <_dlc_DocId xmlns="74ffb7e6-092d-4538-a09d-7e0bb066b0b7">1-10003469-67-3</_dlc_DocId>
    <_dlc_DocIdUrl xmlns="74ffb7e6-092d-4538-a09d-7e0bb066b0b7">
      <Url>https://lightweb.osram.com/content/10003469/Applications/Application_Knowledge/_layouts/15/DocIdRedir.aspx?ID=1-10003469-67-3</Url>
      <Description>1-10003469-67-3</Description>
    </_dlc_DocIdUr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1D0F8082-AF98-4B17-8E34-16238B037D5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b331321-5f8d-4cdb-88fc-ffe54c217c81"/>
    <ds:schemaRef ds:uri="74ffb7e6-092d-4538-a09d-7e0bb066b0b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79753AE-4340-449D-BCA7-093516C5725C}">
  <ds:schemaRefs>
    <ds:schemaRef ds:uri="http://schemas.openxmlformats.org/package/2006/metadata/core-properties"/>
    <ds:schemaRef ds:uri="http://schemas.microsoft.com/office/2006/metadata/properties"/>
    <ds:schemaRef ds:uri="http://purl.org/dc/terms/"/>
    <ds:schemaRef ds:uri="fb331321-5f8d-4cdb-88fc-ffe54c217c81"/>
    <ds:schemaRef ds:uri="http://www.w3.org/XML/1998/namespace"/>
    <ds:schemaRef ds:uri="http://schemas.microsoft.com/office/2006/documentManagement/types"/>
    <ds:schemaRef ds:uri="74ffb7e6-092d-4538-a09d-7e0bb066b0b7"/>
    <ds:schemaRef ds:uri="http://schemas.microsoft.com/office/infopath/2007/PartnerControls"/>
    <ds:schemaRef ds:uri="http://purl.org/dc/dcmitype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0034C838-8F0D-45D9-906C-4BF20B1E8C9B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4AD1EAE6-2211-4D82-B812-0D6F0D690496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</Template>
  <TotalTime>103</TotalTime>
  <Words>4899</Words>
  <Application>Microsoft Office PowerPoint</Application>
  <PresentationFormat>Экран (4:3)</PresentationFormat>
  <Paragraphs>1039</Paragraphs>
  <Slides>47</Slides>
  <Notes>11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6</vt:i4>
      </vt:variant>
      <vt:variant>
        <vt:lpstr>Заголовки слайдов</vt:lpstr>
      </vt:variant>
      <vt:variant>
        <vt:i4>47</vt:i4>
      </vt:variant>
    </vt:vector>
  </HeadingPairs>
  <TitlesOfParts>
    <vt:vector size="60" baseType="lpstr">
      <vt:lpstr>ＭＳ Ｐゴシック</vt:lpstr>
      <vt:lpstr>Arial</vt:lpstr>
      <vt:lpstr>Calibri</vt:lpstr>
      <vt:lpstr>Helvetica</vt:lpstr>
      <vt:lpstr>Symbol</vt:lpstr>
      <vt:lpstr>Wingdings 3</vt:lpstr>
      <vt:lpstr>ヒラギノ角ゴ Pro W3</vt:lpstr>
      <vt:lpstr>Default</vt:lpstr>
      <vt:lpstr>2_OS PowerPoint Presentation Template Office 2007</vt:lpstr>
      <vt:lpstr>2_OSRAM</vt:lpstr>
      <vt:lpstr>2_Default Theme</vt:lpstr>
      <vt:lpstr>4_OS PowerPoint Presentation Template Office 2007</vt:lpstr>
      <vt:lpstr>7_OS PowerPoint Presentation Template Office 2007</vt:lpstr>
      <vt:lpstr>Светодиодное растениеводческое освещение</vt:lpstr>
      <vt:lpstr>Обзор</vt:lpstr>
      <vt:lpstr>Растениеводческое освещение Что такое растениеводческое освещение и как оно применяется?</vt:lpstr>
      <vt:lpstr>Растениеводческое освещение Как свет влияет на рост растений?</vt:lpstr>
      <vt:lpstr>Различие в спектрах поглощения для фотохимических реакций в человеческом глазу и в растениях</vt:lpstr>
      <vt:lpstr>Влияние спектральных составляющих разных длин волн на растения</vt:lpstr>
      <vt:lpstr>Эффективность фотосинтеза определяется в основном хлорофиллом a и b </vt:lpstr>
      <vt:lpstr>На фотоморфогенетические эффекты влияют в основном фитохромы Pr и Pfr </vt:lpstr>
      <vt:lpstr>Поэтому в сфере растениеводческого освещения мы сосредотачиваемся на светодиодах с длинами волн 450, 660 и 730 нм </vt:lpstr>
      <vt:lpstr>Типичный пример применения света с длиной волны 730 нм: реакция избегания тени </vt:lpstr>
      <vt:lpstr>Особый потенциал светодиодов в цветоводстве</vt:lpstr>
      <vt:lpstr>Управление цветением путем влияния на критическую продолжительность светового дня с помощью любого света</vt:lpstr>
      <vt:lpstr>Теоретические основы Счет фотонов</vt:lpstr>
      <vt:lpstr>Один спектр, три различных определения длины волны</vt:lpstr>
      <vt:lpstr>Каковы типичные значения плотности светового потока для растениеводческого освещения?</vt:lpstr>
      <vt:lpstr>Воздействие красного света с длиной волны около 660 нм на физиологию растений</vt:lpstr>
      <vt:lpstr>Воздействие красного света с длиной волны около 660 нм на физиологию растений</vt:lpstr>
      <vt:lpstr>Воздействие красного света с длиной волны около 660 нм на физиологию растений</vt:lpstr>
      <vt:lpstr>Воздействие синего света с длиной волны около 450 нм на физиологию растений</vt:lpstr>
      <vt:lpstr>Воздействие зеленого света с длиной волны около 520 нм на физиологию растений</vt:lpstr>
      <vt:lpstr>Растениеводческое освещение Примеры пропорций смешения света светодиодов для различных целей</vt:lpstr>
      <vt:lpstr>Растениеводческое освещение Примеры пропорций смешения света светодиодов для различных целей</vt:lpstr>
      <vt:lpstr>OSLON® SSL Светодиодное тепличное освещение</vt:lpstr>
      <vt:lpstr>Сегодняшний лидер рынка —  натриевые лампы высокого давления (НЛВД)</vt:lpstr>
      <vt:lpstr>Продукты</vt:lpstr>
      <vt:lpstr>Растениеводческое освещение  Обзор текущего ассортимента </vt:lpstr>
      <vt:lpstr>OSLON® SSL </vt:lpstr>
      <vt:lpstr>Растениеводческое освещение  OSLON® SSL  </vt:lpstr>
      <vt:lpstr>OSLON®</vt:lpstr>
      <vt:lpstr>Растениеводческое освещение  OSLON® SSL  </vt:lpstr>
      <vt:lpstr>OSLON SSL</vt:lpstr>
      <vt:lpstr>Растениеводческое освещение  OSLON® SSL </vt:lpstr>
      <vt:lpstr> Светодиоды для растениеводческого освещения</vt:lpstr>
      <vt:lpstr>OSLON® SSL  Испытания по стандарту LM-80 (с разбивкой по типу и условиям)</vt:lpstr>
      <vt:lpstr>OSLON® SSL  Уникальное торговое предложение</vt:lpstr>
      <vt:lpstr>OSLON® SSL  Испытания по стандарту LM-80 (с разбивкой по типу и условиям)</vt:lpstr>
      <vt:lpstr>OSLON® SSL  Уникальное торговое предложение</vt:lpstr>
      <vt:lpstr>Приложение</vt:lpstr>
      <vt:lpstr>Термины и определения </vt:lpstr>
      <vt:lpstr>Термины и определения </vt:lpstr>
      <vt:lpstr>Список литературы </vt:lpstr>
      <vt:lpstr>Список литературы </vt:lpstr>
      <vt:lpstr>Список литературы </vt:lpstr>
      <vt:lpstr>Список литературы </vt:lpstr>
      <vt:lpstr>Список литературы </vt:lpstr>
      <vt:lpstr>Список литературы </vt:lpstr>
      <vt:lpstr>Спасибо!</vt:lpstr>
    </vt:vector>
  </TitlesOfParts>
  <Company>OSRAM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rticulture Lighting with LEDs</dc:title>
  <dc:creator>Alexander Wilm</dc:creator>
  <cp:lastModifiedBy>Пользователь Windows</cp:lastModifiedBy>
  <cp:revision>162</cp:revision>
  <dcterms:created xsi:type="dcterms:W3CDTF">2015-01-16T15:00:49Z</dcterms:created>
  <dcterms:modified xsi:type="dcterms:W3CDTF">2018-10-08T15:21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A502C3058D5034084524A1860E5D32C</vt:lpwstr>
  </property>
  <property fmtid="{D5CDD505-2E9C-101B-9397-08002B2CF9AE}" pid="3" name="_dlc_DocIdItemGuid">
    <vt:lpwstr>b4746835-1924-45df-b7b2-3a4240c9de90</vt:lpwstr>
  </property>
  <property fmtid="{D5CDD505-2E9C-101B-9397-08002B2CF9AE}" pid="4" name="Brand">
    <vt:lpwstr>OSLON </vt:lpwstr>
  </property>
  <property fmtid="{D5CDD505-2E9C-101B-9397-08002B2CF9AE}" pid="5" name="Sub Brand">
    <vt:lpwstr>SSL</vt:lpwstr>
  </property>
  <property fmtid="{D5CDD505-2E9C-101B-9397-08002B2CF9AE}" pid="6" name="Device">
    <vt:lpwstr>x</vt:lpwstr>
  </property>
  <property fmtid="{D5CDD505-2E9C-101B-9397-08002B2CF9AE}" pid="7" name="_dlc_DocId">
    <vt:lpwstr>1-10003469-67-3</vt:lpwstr>
  </property>
  <property fmtid="{D5CDD505-2E9C-101B-9397-08002B2CF9AE}" pid="8" name="_dlc_DocIdUrl">
    <vt:lpwstr>https://lightweb.osram.com/content/10003469/Applications/Application_Knowledge/_layouts/15/DocIdRedir.aspx?ID=1-10003469-67-3, 1-10003469-67-3</vt:lpwstr>
  </property>
</Properties>
</file>